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4"/>
    <p:sldMasterId id="2147483787" r:id="rId5"/>
    <p:sldMasterId id="2147483758" r:id="rId6"/>
    <p:sldMasterId id="2147483750" r:id="rId7"/>
    <p:sldMasterId id="2147483774" r:id="rId8"/>
  </p:sldMasterIdLst>
  <p:notesMasterIdLst>
    <p:notesMasterId r:id="rId14"/>
  </p:notesMasterIdLst>
  <p:handoutMasterIdLst>
    <p:handoutMasterId r:id="rId15"/>
  </p:handoutMasterIdLst>
  <p:sldIdLst>
    <p:sldId id="448" r:id="rId9"/>
    <p:sldId id="453" r:id="rId10"/>
    <p:sldId id="478" r:id="rId11"/>
    <p:sldId id="479" r:id="rId12"/>
    <p:sldId id="468" r:id="rId13"/>
  </p:sldIdLst>
  <p:sldSz cx="12190413" cy="6859588"/>
  <p:notesSz cx="9942513" cy="6810375"/>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43" userDrawn="1">
          <p15:clr>
            <a:srgbClr val="A4A3A4"/>
          </p15:clr>
        </p15:guide>
        <p15:guide id="3" orient="horz" pos="2455" userDrawn="1">
          <p15:clr>
            <a:srgbClr val="A4A3A4"/>
          </p15:clr>
        </p15:guide>
        <p15:guide id="4" orient="horz" pos="709" userDrawn="1">
          <p15:clr>
            <a:srgbClr val="A4A3A4"/>
          </p15:clr>
        </p15:guide>
        <p15:guide id="6" pos="3953" userDrawn="1">
          <p15:clr>
            <a:srgbClr val="A4A3A4"/>
          </p15:clr>
        </p15:guide>
        <p15:guide id="7" pos="324" userDrawn="1">
          <p15:clr>
            <a:srgbClr val="A4A3A4"/>
          </p15:clr>
        </p15:guide>
        <p15:guide id="8" pos="7559" userDrawn="1">
          <p15:clr>
            <a:srgbClr val="A4A3A4"/>
          </p15:clr>
        </p15:guide>
        <p15:guide id="11" orient="horz" pos="1888" userDrawn="1">
          <p15:clr>
            <a:srgbClr val="A4A3A4"/>
          </p15:clr>
        </p15:guide>
        <p15:guide id="12" orient="horz" pos="3612" userDrawn="1">
          <p15:clr>
            <a:srgbClr val="A4A3A4"/>
          </p15:clr>
        </p15:guide>
        <p15:guide id="13" pos="3613" userDrawn="1">
          <p15:clr>
            <a:srgbClr val="A4A3A4"/>
          </p15:clr>
        </p15:guide>
        <p15:guide id="14" pos="4066" userDrawn="1">
          <p15:clr>
            <a:srgbClr val="A4A3A4"/>
          </p15:clr>
        </p15:guide>
        <p15:guide id="15" orient="horz" pos="1435" userDrawn="1">
          <p15:clr>
            <a:srgbClr val="A4A3A4"/>
          </p15:clr>
        </p15:guide>
        <p15:guide id="16" pos="3000" userDrawn="1">
          <p15:clr>
            <a:srgbClr val="A4A3A4"/>
          </p15:clr>
        </p15:guide>
        <p15:guide id="17" pos="4588" userDrawn="1">
          <p15:clr>
            <a:srgbClr val="A4A3A4"/>
          </p15:clr>
        </p15:guide>
        <p15:guide id="18" orient="horz" pos="3068" userDrawn="1">
          <p15:clr>
            <a:srgbClr val="A4A3A4"/>
          </p15:clr>
        </p15:guide>
        <p15:guide id="19" orient="horz" pos="1276" userDrawn="1">
          <p15:clr>
            <a:srgbClr val="A4A3A4"/>
          </p15:clr>
        </p15:guide>
        <p15:guide id="20" pos="574" userDrawn="1">
          <p15:clr>
            <a:srgbClr val="A4A3A4"/>
          </p15:clr>
        </p15:guide>
        <p15:guide id="21" pos="846" userDrawn="1">
          <p15:clr>
            <a:srgbClr val="A4A3A4"/>
          </p15:clr>
        </p15:guide>
        <p15:guide id="22" orient="horz" pos="1004" userDrawn="1">
          <p15:clr>
            <a:srgbClr val="A4A3A4"/>
          </p15:clr>
        </p15:guide>
        <p15:guide id="23" orient="horz" pos="1104" userDrawn="1">
          <p15:clr>
            <a:srgbClr val="A4A3A4"/>
          </p15:clr>
        </p15:guide>
        <p15:guide id="24" orient="horz" pos="573" userDrawn="1">
          <p15:clr>
            <a:srgbClr val="A4A3A4"/>
          </p15:clr>
        </p15:guide>
        <p15:guide id="25" orient="horz" pos="2478" userDrawn="1">
          <p15:clr>
            <a:srgbClr val="A4A3A4"/>
          </p15:clr>
        </p15:guide>
        <p15:guide id="26" orient="horz" pos="80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MA, Julie (DGS/MICOM)" initials="SJ(" lastIdx="1" clrIdx="0">
    <p:extLst/>
  </p:cmAuthor>
  <p:cmAuthor id="2" name="DUBOIS, Hélène (DGS/SG/DAD-BSIIP)" initials="DH(" lastIdx="6" clrIdx="1">
    <p:extLst>
      <p:ext uri="{19B8F6BF-5375-455C-9EA6-DF929625EA0E}">
        <p15:presenceInfo xmlns:p15="http://schemas.microsoft.com/office/powerpoint/2012/main" userId="S-1-5-21-27022435-3177379373-3347635678-85551" providerId="AD"/>
      </p:ext>
    </p:extLst>
  </p:cmAuthor>
  <p:cmAuthor id="3" name="Marie ALLOUARD" initials="MA" lastIdx="1" clrIdx="2">
    <p:extLst>
      <p:ext uri="{19B8F6BF-5375-455C-9EA6-DF929625EA0E}">
        <p15:presenceInfo xmlns:p15="http://schemas.microsoft.com/office/powerpoint/2012/main" userId="S-1-5-21-3641078771-3653456904-245653651-14664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2E72B0"/>
    <a:srgbClr val="C00000"/>
    <a:srgbClr val="E97B7B"/>
    <a:srgbClr val="DCE6F2"/>
    <a:srgbClr val="8890BB"/>
    <a:srgbClr val="8064A2"/>
    <a:srgbClr val="F79443"/>
    <a:srgbClr val="93CDDD"/>
    <a:srgbClr val="D8D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660" autoAdjust="0"/>
    <p:restoredTop sz="94343" autoAdjust="0"/>
  </p:normalViewPr>
  <p:slideViewPr>
    <p:cSldViewPr snapToGrid="0">
      <p:cViewPr varScale="1">
        <p:scale>
          <a:sx n="95" d="100"/>
          <a:sy n="95" d="100"/>
        </p:scale>
        <p:origin x="96" y="444"/>
      </p:cViewPr>
      <p:guideLst>
        <p:guide orient="horz" pos="4043"/>
        <p:guide orient="horz" pos="2455"/>
        <p:guide orient="horz" pos="709"/>
        <p:guide pos="3953"/>
        <p:guide pos="324"/>
        <p:guide pos="7559"/>
        <p:guide orient="horz" pos="1888"/>
        <p:guide orient="horz" pos="3612"/>
        <p:guide pos="3613"/>
        <p:guide pos="4066"/>
        <p:guide orient="horz" pos="1435"/>
        <p:guide pos="3000"/>
        <p:guide pos="4588"/>
        <p:guide orient="horz" pos="3068"/>
        <p:guide orient="horz" pos="1276"/>
        <p:guide pos="574"/>
        <p:guide pos="846"/>
        <p:guide orient="horz" pos="1004"/>
        <p:guide orient="horz" pos="1104"/>
        <p:guide orient="horz" pos="573"/>
        <p:guide orient="horz" pos="2478"/>
        <p:guide orient="horz" pos="809"/>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75" d="100"/>
          <a:sy n="75" d="100"/>
        </p:scale>
        <p:origin x="2448"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309506" cy="340901"/>
          </a:xfrm>
          <a:prstGeom prst="rect">
            <a:avLst/>
          </a:prstGeom>
        </p:spPr>
        <p:txBody>
          <a:bodyPr vert="horz" lIns="91595" tIns="45798" rIns="91595" bIns="45798" rtlCol="0"/>
          <a:lstStyle>
            <a:lvl1pPr algn="l">
              <a:defRPr sz="1200"/>
            </a:lvl1pPr>
          </a:lstStyle>
          <a:p>
            <a:endParaRPr lang="fr-FR"/>
          </a:p>
        </p:txBody>
      </p:sp>
      <p:sp>
        <p:nvSpPr>
          <p:cNvPr id="3" name="Espace réservé de la date 2"/>
          <p:cNvSpPr>
            <a:spLocks noGrp="1"/>
          </p:cNvSpPr>
          <p:nvPr>
            <p:ph type="dt" sz="quarter" idx="1"/>
          </p:nvPr>
        </p:nvSpPr>
        <p:spPr>
          <a:xfrm>
            <a:off x="5630687" y="0"/>
            <a:ext cx="4309506" cy="340901"/>
          </a:xfrm>
          <a:prstGeom prst="rect">
            <a:avLst/>
          </a:prstGeom>
        </p:spPr>
        <p:txBody>
          <a:bodyPr vert="horz" lIns="91595" tIns="45798" rIns="91595" bIns="45798" rtlCol="0"/>
          <a:lstStyle>
            <a:lvl1pPr algn="r">
              <a:defRPr sz="1200"/>
            </a:lvl1pPr>
          </a:lstStyle>
          <a:p>
            <a:fld id="{07AEEAB5-2C3A-423F-8EE9-474FF60FD7E4}" type="datetimeFigureOut">
              <a:rPr lang="fr-FR" smtClean="0"/>
              <a:t>16/12/2022</a:t>
            </a:fld>
            <a:endParaRPr lang="fr-FR"/>
          </a:p>
        </p:txBody>
      </p:sp>
      <p:sp>
        <p:nvSpPr>
          <p:cNvPr id="4" name="Espace réservé du pied de page 3"/>
          <p:cNvSpPr>
            <a:spLocks noGrp="1"/>
          </p:cNvSpPr>
          <p:nvPr>
            <p:ph type="ftr" sz="quarter" idx="2"/>
          </p:nvPr>
        </p:nvSpPr>
        <p:spPr>
          <a:xfrm>
            <a:off x="0" y="6469475"/>
            <a:ext cx="4309506" cy="340901"/>
          </a:xfrm>
          <a:prstGeom prst="rect">
            <a:avLst/>
          </a:prstGeom>
        </p:spPr>
        <p:txBody>
          <a:bodyPr vert="horz" lIns="91595" tIns="45798" rIns="91595" bIns="45798"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5630687" y="6469475"/>
            <a:ext cx="4309506" cy="340901"/>
          </a:xfrm>
          <a:prstGeom prst="rect">
            <a:avLst/>
          </a:prstGeom>
        </p:spPr>
        <p:txBody>
          <a:bodyPr vert="horz" lIns="91595" tIns="45798" rIns="91595" bIns="45798" rtlCol="0" anchor="b"/>
          <a:lstStyle>
            <a:lvl1pPr algn="r">
              <a:defRPr sz="1200"/>
            </a:lvl1pPr>
          </a:lstStyle>
          <a:p>
            <a:fld id="{CD584776-D907-453B-8B38-591991522DB5}" type="slidenum">
              <a:rPr lang="fr-FR" smtClean="0"/>
              <a:t>‹N°›</a:t>
            </a:fld>
            <a:endParaRPr lang="fr-FR"/>
          </a:p>
        </p:txBody>
      </p:sp>
    </p:spTree>
    <p:extLst>
      <p:ext uri="{BB962C8B-B14F-4D97-AF65-F5344CB8AC3E}">
        <p14:creationId xmlns:p14="http://schemas.microsoft.com/office/powerpoint/2010/main" val="5202628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0"/>
            <a:ext cx="4308422" cy="341701"/>
          </a:xfrm>
          <a:prstGeom prst="rect">
            <a:avLst/>
          </a:prstGeom>
        </p:spPr>
        <p:txBody>
          <a:bodyPr vert="horz" lIns="91595" tIns="45798" rIns="91595" bIns="45798" rtlCol="0"/>
          <a:lstStyle>
            <a:lvl1pPr algn="l">
              <a:defRPr sz="1200"/>
            </a:lvl1pPr>
          </a:lstStyle>
          <a:p>
            <a:endParaRPr lang="fr-FR"/>
          </a:p>
        </p:txBody>
      </p:sp>
      <p:sp>
        <p:nvSpPr>
          <p:cNvPr id="3" name="Espace réservé de la date 2"/>
          <p:cNvSpPr>
            <a:spLocks noGrp="1"/>
          </p:cNvSpPr>
          <p:nvPr>
            <p:ph type="dt" idx="1"/>
          </p:nvPr>
        </p:nvSpPr>
        <p:spPr>
          <a:xfrm>
            <a:off x="5631792" y="0"/>
            <a:ext cx="4308422" cy="341701"/>
          </a:xfrm>
          <a:prstGeom prst="rect">
            <a:avLst/>
          </a:prstGeom>
        </p:spPr>
        <p:txBody>
          <a:bodyPr vert="horz" lIns="91595" tIns="45798" rIns="91595" bIns="45798" rtlCol="0"/>
          <a:lstStyle>
            <a:lvl1pPr algn="r">
              <a:defRPr sz="1200"/>
            </a:lvl1pPr>
          </a:lstStyle>
          <a:p>
            <a:fld id="{4308C419-FCC7-46D0-925F-4D245798B981}" type="datetimeFigureOut">
              <a:rPr lang="fr-FR" smtClean="0"/>
              <a:t>16/12/2022</a:t>
            </a:fld>
            <a:endParaRPr lang="fr-FR"/>
          </a:p>
        </p:txBody>
      </p:sp>
      <p:sp>
        <p:nvSpPr>
          <p:cNvPr id="4" name="Espace réservé de l'image des diapositives 3"/>
          <p:cNvSpPr>
            <a:spLocks noGrp="1" noRot="1" noChangeAspect="1"/>
          </p:cNvSpPr>
          <p:nvPr>
            <p:ph type="sldImg" idx="2"/>
          </p:nvPr>
        </p:nvSpPr>
        <p:spPr>
          <a:xfrm>
            <a:off x="2930525" y="852488"/>
            <a:ext cx="4081463" cy="2297112"/>
          </a:xfrm>
          <a:prstGeom prst="rect">
            <a:avLst/>
          </a:prstGeom>
          <a:noFill/>
          <a:ln w="12700">
            <a:solidFill>
              <a:prstClr val="black"/>
            </a:solidFill>
          </a:ln>
        </p:spPr>
        <p:txBody>
          <a:bodyPr vert="horz" lIns="91595" tIns="45798" rIns="91595" bIns="45798" rtlCol="0" anchor="ctr"/>
          <a:lstStyle/>
          <a:p>
            <a:endParaRPr lang="fr-FR"/>
          </a:p>
        </p:txBody>
      </p:sp>
      <p:sp>
        <p:nvSpPr>
          <p:cNvPr id="5" name="Espace réservé des notes 4"/>
          <p:cNvSpPr>
            <a:spLocks noGrp="1"/>
          </p:cNvSpPr>
          <p:nvPr>
            <p:ph type="body" sz="quarter" idx="3"/>
          </p:nvPr>
        </p:nvSpPr>
        <p:spPr>
          <a:xfrm>
            <a:off x="994253" y="3277493"/>
            <a:ext cx="7954010" cy="2681586"/>
          </a:xfrm>
          <a:prstGeom prst="rect">
            <a:avLst/>
          </a:prstGeom>
        </p:spPr>
        <p:txBody>
          <a:bodyPr vert="horz" lIns="91595" tIns="45798" rIns="91595" bIns="45798" rtlCol="0"/>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2" y="6468675"/>
            <a:ext cx="4308422" cy="341701"/>
          </a:xfrm>
          <a:prstGeom prst="rect">
            <a:avLst/>
          </a:prstGeom>
        </p:spPr>
        <p:txBody>
          <a:bodyPr vert="horz" lIns="91595" tIns="45798" rIns="91595" bIns="45798"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5631792" y="6468675"/>
            <a:ext cx="4308422" cy="341701"/>
          </a:xfrm>
          <a:prstGeom prst="rect">
            <a:avLst/>
          </a:prstGeom>
        </p:spPr>
        <p:txBody>
          <a:bodyPr vert="horz" lIns="91595" tIns="45798" rIns="91595" bIns="45798" rtlCol="0" anchor="b"/>
          <a:lstStyle>
            <a:lvl1pPr algn="r">
              <a:defRPr sz="1200"/>
            </a:lvl1pPr>
          </a:lstStyle>
          <a:p>
            <a:fld id="{96129EA7-38A1-468F-8FEE-6574E476B644}" type="slidenum">
              <a:rPr lang="fr-FR" smtClean="0"/>
              <a:t>‹N°›</a:t>
            </a:fld>
            <a:endParaRPr lang="fr-FR"/>
          </a:p>
        </p:txBody>
      </p:sp>
    </p:spTree>
    <p:extLst>
      <p:ext uri="{BB962C8B-B14F-4D97-AF65-F5344CB8AC3E}">
        <p14:creationId xmlns:p14="http://schemas.microsoft.com/office/powerpoint/2010/main" val="1137884055"/>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DGS_Diapo_Texte_Sans titre">
    <p:spTree>
      <p:nvGrpSpPr>
        <p:cNvPr id="1" name=""/>
        <p:cNvGrpSpPr/>
        <p:nvPr/>
      </p:nvGrpSpPr>
      <p:grpSpPr>
        <a:xfrm>
          <a:off x="0" y="0"/>
          <a:ext cx="0" cy="0"/>
          <a:chOff x="0" y="0"/>
          <a:chExt cx="0" cy="0"/>
        </a:xfrm>
      </p:grpSpPr>
      <p:sp>
        <p:nvSpPr>
          <p:cNvPr id="4" name="Espace réservé du numéro de diapositive 6"/>
          <p:cNvSpPr>
            <a:spLocks noGrp="1"/>
          </p:cNvSpPr>
          <p:nvPr>
            <p:ph type="sldNum" sz="quarter" idx="4"/>
          </p:nvPr>
        </p:nvSpPr>
        <p:spPr>
          <a:xfrm>
            <a:off x="10943205" y="6435902"/>
            <a:ext cx="814678" cy="309704"/>
          </a:xfrm>
          <a:prstGeom prst="rect">
            <a:avLst/>
          </a:prstGeom>
        </p:spPr>
        <p:txBody>
          <a:bodyPr lIns="121917" tIns="60958" rIns="121917" bIns="60958"/>
          <a:lstStyle>
            <a:lvl1pPr algn="ctr">
              <a:defRPr sz="1200" b="1">
                <a:solidFill>
                  <a:schemeClr val="tx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Tree>
    <p:extLst>
      <p:ext uri="{BB962C8B-B14F-4D97-AF65-F5344CB8AC3E}">
        <p14:creationId xmlns:p14="http://schemas.microsoft.com/office/powerpoint/2010/main" val="38178077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745" y="1665292"/>
            <a:ext cx="11231357" cy="324010"/>
          </a:xfrm>
        </p:spPr>
        <p:txBody>
          <a:bodyPr/>
          <a:lstStyle>
            <a:lvl1pPr marL="12699" indent="114286">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744" y="2277400"/>
            <a:ext cx="1123098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7"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
        <p:nvSpPr>
          <p:cNvPr id="6" name="Titre 1"/>
          <p:cNvSpPr txBox="1">
            <a:spLocks/>
          </p:cNvSpPr>
          <p:nvPr userDrawn="1"/>
        </p:nvSpPr>
        <p:spPr>
          <a:xfrm>
            <a:off x="1197154" y="79186"/>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30442296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lvl1pPr>
              <a:defRPr>
                <a:solidFill>
                  <a:schemeClr val="bg1"/>
                </a:solidFill>
              </a:defRPr>
            </a:lvl1p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15" y="2085334"/>
            <a:ext cx="3359563" cy="3841316"/>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5425"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0912"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745" y="910613"/>
            <a:ext cx="11231689" cy="720155"/>
          </a:xfrm>
        </p:spPr>
        <p:txBody>
          <a:bodyPr/>
          <a:lstStyle/>
          <a:p>
            <a:r>
              <a:rPr lang="fr-FR" dirty="0"/>
              <a:t>Sommaire</a:t>
            </a:r>
          </a:p>
        </p:txBody>
      </p:sp>
      <p:sp>
        <p:nvSpPr>
          <p:cNvPr id="7" name="Titre 1"/>
          <p:cNvSpPr txBox="1">
            <a:spLocks/>
          </p:cNvSpPr>
          <p:nvPr userDrawn="1"/>
        </p:nvSpPr>
        <p:spPr>
          <a:xfrm>
            <a:off x="1197154" y="92837"/>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13666876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745" y="910613"/>
            <a:ext cx="11231689" cy="720155"/>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15" y="2277400"/>
            <a:ext cx="3408184"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239"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6"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8866776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431315"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244" y="2277400"/>
            <a:ext cx="7487857" cy="3841316"/>
          </a:xfrm>
        </p:spPr>
        <p:txBody>
          <a:bodyPr/>
          <a:lstStyle/>
          <a:p>
            <a:r>
              <a:rPr lang="fr-FR" dirty="0" smtClean="0"/>
              <a:t>Cliquez sur l'icône pour ajouter une imag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44252579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15" y="2277401"/>
            <a:ext cx="7680384" cy="3840522"/>
          </a:xfrm>
        </p:spPr>
        <p:txBody>
          <a:bodyPr/>
          <a:lstStyle/>
          <a:p>
            <a:r>
              <a:rPr lang="fr-FR" dirty="0" smtClean="0"/>
              <a:t>Cliquez sur l'icône pour ajouter un graphiqu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62877208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744" y="2853597"/>
            <a:ext cx="11230538" cy="3058340"/>
          </a:xfrm>
        </p:spPr>
        <p:txBody>
          <a:bodyPr/>
          <a:lstStyle>
            <a:lvl1pPr>
              <a:lnSpc>
                <a:spcPct val="90000"/>
              </a:lnSpc>
              <a:spcAft>
                <a:spcPts val="0"/>
              </a:spcAft>
              <a:defRPr sz="4333" b="1" cap="all" baseline="0"/>
            </a:lvl1pPr>
            <a:lvl2pPr marL="122752" indent="0">
              <a:spcBef>
                <a:spcPts val="667"/>
              </a:spcBef>
              <a:spcAft>
                <a:spcPts val="0"/>
              </a:spcAft>
              <a:buNone/>
              <a:tabLst/>
              <a:defRPr sz="2467"/>
            </a:lvl2pPr>
          </a:lstStyle>
          <a:p>
            <a:pPr lvl="0"/>
            <a:r>
              <a:rPr lang="fr-FR" dirty="0"/>
              <a:t>Titre</a:t>
            </a:r>
          </a:p>
          <a:p>
            <a:pPr lvl="1"/>
            <a:r>
              <a:rPr lang="fr-FR" dirty="0"/>
              <a:t>Sous-titre</a:t>
            </a:r>
          </a:p>
        </p:txBody>
      </p: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745" y="6398324"/>
            <a:ext cx="1613703" cy="461266"/>
          </a:xfrm>
          <a:prstGeom prst="rect">
            <a:avLst/>
          </a:prstGeom>
        </p:spPr>
        <p:txBody>
          <a:bodyPr vert="horz" lIns="0" tIns="0" rIns="0" bIns="0" rtlCol="0" anchor="ctr" anchorCtr="0">
            <a:noAutofit/>
          </a:bodyPr>
          <a:lstStyle>
            <a:lvl1pPr algn="l">
              <a:defRPr sz="1000" b="1">
                <a:solidFill>
                  <a:schemeClr val="tx1"/>
                </a:solidFill>
              </a:defRPr>
            </a:lvl1pPr>
          </a:lstStyle>
          <a:p>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39970" y="164675"/>
            <a:ext cx="2687297" cy="209315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Tree>
    <p:extLst>
      <p:ext uri="{BB962C8B-B14F-4D97-AF65-F5344CB8AC3E}">
        <p14:creationId xmlns:p14="http://schemas.microsoft.com/office/powerpoint/2010/main" val="111401764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228"/>
            <a:ext cx="12190413" cy="5926649"/>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650" y="6398324"/>
            <a:ext cx="1559797" cy="461266"/>
          </a:xfrm>
          <a:prstGeom prst="rect">
            <a:avLst/>
          </a:prstGeom>
        </p:spPr>
        <p:txBody>
          <a:bodyPr vert="horz" lIns="0" tIns="0" rIns="0" bIns="0" rtlCol="0" anchor="ctr" anchorCtr="0">
            <a:noAutofit/>
          </a:bodyPr>
          <a:lstStyle>
            <a:lvl1pPr algn="l">
              <a:defRPr sz="1000" b="1">
                <a:solidFill>
                  <a:schemeClr val="bg1"/>
                </a:solidFill>
              </a:defRPr>
            </a:lvl1pPr>
          </a:lstStyle>
          <a:p>
            <a:endParaRPr lang="fr-FR" cap="all" dirty="0"/>
          </a:p>
        </p:txBody>
      </p:sp>
      <p:sp>
        <p:nvSpPr>
          <p:cNvPr id="2" name="Titre 1"/>
          <p:cNvSpPr>
            <a:spLocks noGrp="1"/>
          </p:cNvSpPr>
          <p:nvPr>
            <p:ph type="title" hasCustomPrompt="1"/>
          </p:nvPr>
        </p:nvSpPr>
        <p:spPr bwMode="gray">
          <a:xfrm>
            <a:off x="479937" y="984228"/>
            <a:ext cx="11230538" cy="5396449"/>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34" indent="-527934">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Tree>
    <p:extLst>
      <p:ext uri="{BB962C8B-B14F-4D97-AF65-F5344CB8AC3E}">
        <p14:creationId xmlns:p14="http://schemas.microsoft.com/office/powerpoint/2010/main" val="9130179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9532"/>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959875" y="5830616"/>
            <a:ext cx="4319438" cy="597401"/>
          </a:xfrm>
          <a:prstGeom prst="rect">
            <a:avLst/>
          </a:prstGeom>
        </p:spPr>
        <p:txBody>
          <a:bodyPr anchor="ctr" anchorCtr="0"/>
          <a:lstStyle>
            <a:lvl1pPr algn="l">
              <a:defRPr sz="1533"/>
            </a:lvl1pPr>
          </a:lstStyle>
          <a:p>
            <a:endParaRPr lang="fr-FR" dirty="0"/>
          </a:p>
        </p:txBody>
      </p:sp>
      <p:sp>
        <p:nvSpPr>
          <p:cNvPr id="6" name="Espace réservé du numéro de diapositive 5"/>
          <p:cNvSpPr>
            <a:spLocks noGrp="1"/>
          </p:cNvSpPr>
          <p:nvPr>
            <p:ph type="sldNum" sz="quarter" idx="12"/>
          </p:nvPr>
        </p:nvSpPr>
        <p:spPr bwMode="gray">
          <a:xfrm>
            <a:off x="0" y="6619532"/>
            <a:ext cx="239969" cy="240056"/>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472" y="260710"/>
            <a:ext cx="4754750" cy="3703512"/>
          </a:xfrm>
          <a:prstGeom prst="rect">
            <a:avLst/>
          </a:prstGeom>
        </p:spPr>
      </p:pic>
    </p:spTree>
    <p:extLst>
      <p:ext uri="{BB962C8B-B14F-4D97-AF65-F5344CB8AC3E}">
        <p14:creationId xmlns:p14="http://schemas.microsoft.com/office/powerpoint/2010/main" val="34120615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reserve="1">
  <p:cSld name="One column text">
    <p:spTree>
      <p:nvGrpSpPr>
        <p:cNvPr id="1" name="Shape 25"/>
        <p:cNvGrpSpPr/>
        <p:nvPr/>
      </p:nvGrpSpPr>
      <p:grpSpPr>
        <a:xfrm>
          <a:off x="0" y="0"/>
          <a:ext cx="0" cy="0"/>
          <a:chOff x="0" y="0"/>
          <a:chExt cx="0" cy="0"/>
        </a:xfrm>
      </p:grpSpPr>
      <p:sp>
        <p:nvSpPr>
          <p:cNvPr id="26" name="Google Shape;26;p7"/>
          <p:cNvSpPr txBox="1">
            <a:spLocks noGrp="1"/>
          </p:cNvSpPr>
          <p:nvPr>
            <p:ph type="title"/>
          </p:nvPr>
        </p:nvSpPr>
        <p:spPr>
          <a:xfrm>
            <a:off x="6582743" y="720167"/>
            <a:ext cx="4647795" cy="2709427"/>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a:solidFill>
                  <a:schemeClr val="accent2"/>
                </a:solidFil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27" name="Google Shape;27;p7"/>
          <p:cNvSpPr txBox="1">
            <a:spLocks noGrp="1"/>
          </p:cNvSpPr>
          <p:nvPr>
            <p:ph type="subTitle" idx="1"/>
          </p:nvPr>
        </p:nvSpPr>
        <p:spPr>
          <a:xfrm>
            <a:off x="6582743" y="3429794"/>
            <a:ext cx="4647795" cy="2608604"/>
          </a:xfrm>
          <a:prstGeom prst="rect">
            <a:avLst/>
          </a:prstGeom>
        </p:spPr>
        <p:txBody>
          <a:bodyPr spcFirstLastPara="1" wrap="square" lIns="91425" tIns="91425" rIns="91425" bIns="91425" anchor="t" anchorCtr="0">
            <a:noAutofit/>
          </a:bodyPr>
          <a:lstStyle>
            <a:lvl1pPr lvl="0">
              <a:spcBef>
                <a:spcPts val="0"/>
              </a:spcBef>
              <a:spcAft>
                <a:spcPts val="0"/>
              </a:spcAft>
              <a:buSzPts val="1600"/>
              <a:buNone/>
              <a:defRPr/>
            </a:lvl1pPr>
            <a:lvl2pPr lvl="1">
              <a:spcBef>
                <a:spcPts val="0"/>
              </a:spcBef>
              <a:spcAft>
                <a:spcPts val="0"/>
              </a:spcAft>
              <a:buSzPts val="1600"/>
              <a:buNone/>
              <a:defRPr/>
            </a:lvl2pPr>
            <a:lvl3pPr lvl="2">
              <a:spcBef>
                <a:spcPts val="0"/>
              </a:spcBef>
              <a:spcAft>
                <a:spcPts val="0"/>
              </a:spcAft>
              <a:buSzPts val="16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77653454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24722369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744" y="6398323"/>
            <a:ext cx="1559797" cy="461265"/>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6/12/2022</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745" y="1665291"/>
            <a:ext cx="11231357" cy="324010"/>
          </a:xfrm>
        </p:spPr>
        <p:txBody>
          <a:bodyPr/>
          <a:lstStyle>
            <a:lvl1pPr marL="12699" indent="114289">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744" y="2277399"/>
            <a:ext cx="1123098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14322825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re de section">
    <p:spTree>
      <p:nvGrpSpPr>
        <p:cNvPr id="1" name=""/>
        <p:cNvGrpSpPr/>
        <p:nvPr/>
      </p:nvGrpSpPr>
      <p:grpSpPr>
        <a:xfrm>
          <a:off x="0" y="0"/>
          <a:ext cx="0" cy="0"/>
          <a:chOff x="0" y="0"/>
          <a:chExt cx="0" cy="0"/>
        </a:xfrm>
      </p:grpSpPr>
      <p:sp>
        <p:nvSpPr>
          <p:cNvPr id="9" name="Rectangle 8"/>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11" name="Rectangle 10"/>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pic>
        <p:nvPicPr>
          <p:cNvPr id="23" name="Image 22"/>
          <p:cNvPicPr>
            <a:picLocks noChangeAspect="1"/>
          </p:cNvPicPr>
          <p:nvPr userDrawn="1"/>
        </p:nvPicPr>
        <p:blipFill>
          <a:blip r:embed="rId2"/>
          <a:stretch>
            <a:fillRect/>
          </a:stretch>
        </p:blipFill>
        <p:spPr>
          <a:xfrm>
            <a:off x="10538251" y="165399"/>
            <a:ext cx="1466741" cy="612142"/>
          </a:xfrm>
          <a:prstGeom prst="rect">
            <a:avLst/>
          </a:prstGeom>
        </p:spPr>
      </p:pic>
      <p:sp>
        <p:nvSpPr>
          <p:cNvPr id="25" name="Titre 1"/>
          <p:cNvSpPr txBox="1">
            <a:spLocks/>
          </p:cNvSpPr>
          <p:nvPr userDrawn="1"/>
        </p:nvSpPr>
        <p:spPr>
          <a:xfrm>
            <a:off x="1557078" y="163138"/>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12" name="Rectangle 9"/>
          <p:cNvSpPr>
            <a:spLocks noChangeArrowheads="1"/>
          </p:cNvSpPr>
          <p:nvPr userDrawn="1"/>
        </p:nvSpPr>
        <p:spPr bwMode="auto">
          <a:xfrm flipV="1">
            <a:off x="1248329" y="590937"/>
            <a:ext cx="9262794" cy="36008"/>
          </a:xfrm>
          <a:prstGeom prst="rect">
            <a:avLst/>
          </a:prstGeom>
          <a:solidFill>
            <a:srgbClr val="004192"/>
          </a:solidFill>
          <a:ln w="9525">
            <a:noFill/>
            <a:miter lim="800000"/>
            <a:headEnd/>
            <a:tailEnd/>
          </a:ln>
        </p:spPr>
        <p:txBody>
          <a:bodyPr wrap="none" anchor="ctr"/>
          <a:lstStyle/>
          <a:p>
            <a:pPr algn="ctr" eaLnBrk="0" hangingPunct="0">
              <a:defRPr/>
            </a:pPr>
            <a:r>
              <a:rPr lang="fr-FR" sz="2400" dirty="0">
                <a:latin typeface="Arial" panose="020B0604020202020204" pitchFamily="34" charset="0"/>
                <a:cs typeface="Arial" panose="020B0604020202020204" pitchFamily="34" charset="0"/>
              </a:rPr>
              <a:t> </a:t>
            </a:r>
          </a:p>
        </p:txBody>
      </p:sp>
      <p:sp>
        <p:nvSpPr>
          <p:cNvPr id="1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56434811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Master Slide" type="title" preserve="1">
  <p:cSld name="Master Slide">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5989968" y="6430866"/>
            <a:ext cx="210477" cy="148089"/>
          </a:xfrm>
          <a:prstGeom prst="rect">
            <a:avLst/>
          </a:prstGeom>
          <a:noFill/>
          <a:ln>
            <a:noFill/>
          </a:ln>
        </p:spPr>
        <p:txBody>
          <a:bodyPr spcFirstLastPara="1" wrap="square" lIns="0" tIns="0" rIns="0" bIns="0" anchor="t" anchorCtr="0">
            <a:noAutofit/>
          </a:bodyPr>
          <a:lstStyle>
            <a:lvl1pPr marL="0" lvl="0"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1pPr>
            <a:lvl2pPr marL="0" lvl="1"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2pPr>
            <a:lvl3pPr marL="0" lvl="2"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3pPr>
            <a:lvl4pPr marL="0" lvl="3"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4pPr>
            <a:lvl5pPr marL="0" lvl="4"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5pPr>
            <a:lvl6pPr marL="0" lvl="5"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6pPr>
            <a:lvl7pPr marL="0" lvl="6"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7pPr>
            <a:lvl8pPr marL="0" lvl="7"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8pPr>
            <a:lvl9pPr marL="0" lvl="8"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9pPr>
          </a:lstStyle>
          <a:p>
            <a:fld id="{00000000-1234-1234-1234-123412341234}" type="slidenum">
              <a:rPr lang="en-US" smtClean="0"/>
              <a:pPr/>
              <a:t>‹N°›</a:t>
            </a:fld>
            <a:endParaRPr lang="en-US"/>
          </a:p>
        </p:txBody>
      </p:sp>
    </p:spTree>
    <p:extLst>
      <p:ext uri="{BB962C8B-B14F-4D97-AF65-F5344CB8AC3E}">
        <p14:creationId xmlns:p14="http://schemas.microsoft.com/office/powerpoint/2010/main" val="229963413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GS_Diapo_Texte_Titre 1 ligne">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943205" y="6435902"/>
            <a:ext cx="814678" cy="309704"/>
          </a:xfrm>
          <a:prstGeom prst="rect">
            <a:avLst/>
          </a:prstGeom>
        </p:spPr>
        <p:txBody>
          <a:bodyPr lIns="121917" tIns="60958" rIns="121917" bIns="60958"/>
          <a:lstStyle>
            <a:lvl1pPr algn="ctr">
              <a:defRPr sz="1200" b="1">
                <a:solidFill>
                  <a:schemeClr val="tx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Tree>
    <p:extLst>
      <p:ext uri="{BB962C8B-B14F-4D97-AF65-F5344CB8AC3E}">
        <p14:creationId xmlns:p14="http://schemas.microsoft.com/office/powerpoint/2010/main" val="52716655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GS_Diapo_Texte_Sans titre">
    <p:spTree>
      <p:nvGrpSpPr>
        <p:cNvPr id="1" name=""/>
        <p:cNvGrpSpPr/>
        <p:nvPr/>
      </p:nvGrpSpPr>
      <p:grpSpPr>
        <a:xfrm>
          <a:off x="0" y="0"/>
          <a:ext cx="0" cy="0"/>
          <a:chOff x="0" y="0"/>
          <a:chExt cx="0" cy="0"/>
        </a:xfrm>
      </p:grpSpPr>
      <p:sp>
        <p:nvSpPr>
          <p:cNvPr id="4" name="Espace réservé du numéro de diapositive 6"/>
          <p:cNvSpPr>
            <a:spLocks noGrp="1"/>
          </p:cNvSpPr>
          <p:nvPr>
            <p:ph type="sldNum" sz="quarter" idx="4"/>
          </p:nvPr>
        </p:nvSpPr>
        <p:spPr>
          <a:xfrm>
            <a:off x="10943205" y="6435902"/>
            <a:ext cx="814678" cy="309704"/>
          </a:xfrm>
          <a:prstGeom prst="rect">
            <a:avLst/>
          </a:prstGeom>
        </p:spPr>
        <p:txBody>
          <a:bodyPr lIns="121917" tIns="60958" rIns="121917" bIns="60958"/>
          <a:lstStyle>
            <a:lvl1pPr algn="ctr">
              <a:defRPr sz="1200" b="1">
                <a:solidFill>
                  <a:schemeClr val="tx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Tree>
    <p:extLst>
      <p:ext uri="{BB962C8B-B14F-4D97-AF65-F5344CB8AC3E}">
        <p14:creationId xmlns:p14="http://schemas.microsoft.com/office/powerpoint/2010/main" val="85278875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Master Slide" type="title">
  <p:cSld name="Master Slide">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5989968" y="6430866"/>
            <a:ext cx="210477" cy="148089"/>
          </a:xfrm>
          <a:prstGeom prst="rect">
            <a:avLst/>
          </a:prstGeom>
          <a:noFill/>
          <a:ln>
            <a:noFill/>
          </a:ln>
        </p:spPr>
        <p:txBody>
          <a:bodyPr spcFirstLastPara="1" wrap="square" lIns="0" tIns="0" rIns="0" bIns="0" anchor="t" anchorCtr="0">
            <a:noAutofit/>
          </a:bodyPr>
          <a:lstStyle>
            <a:lvl1pPr marL="0" lvl="0"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1pPr>
            <a:lvl2pPr marL="0" lvl="1"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2pPr>
            <a:lvl3pPr marL="0" lvl="2"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3pPr>
            <a:lvl4pPr marL="0" lvl="3"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4pPr>
            <a:lvl5pPr marL="0" lvl="4"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5pPr>
            <a:lvl6pPr marL="0" lvl="5"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6pPr>
            <a:lvl7pPr marL="0" lvl="6"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7pPr>
            <a:lvl8pPr marL="0" lvl="7"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8pPr>
            <a:lvl9pPr marL="0" lvl="8"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9pPr>
          </a:lstStyle>
          <a:p>
            <a:fld id="{00000000-1234-1234-1234-123412341234}" type="slidenum">
              <a:rPr lang="en-US" smtClean="0"/>
              <a:pPr/>
              <a:t>‹N°›</a:t>
            </a:fld>
            <a:endParaRPr lang="en-US"/>
          </a:p>
        </p:txBody>
      </p:sp>
    </p:spTree>
    <p:extLst>
      <p:ext uri="{BB962C8B-B14F-4D97-AF65-F5344CB8AC3E}">
        <p14:creationId xmlns:p14="http://schemas.microsoft.com/office/powerpoint/2010/main" val="526322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5"/>
        <p:cNvGrpSpPr/>
        <p:nvPr/>
      </p:nvGrpSpPr>
      <p:grpSpPr>
        <a:xfrm>
          <a:off x="0" y="0"/>
          <a:ext cx="0" cy="0"/>
          <a:chOff x="0" y="0"/>
          <a:chExt cx="0" cy="0"/>
        </a:xfrm>
      </p:grpSpPr>
      <p:sp>
        <p:nvSpPr>
          <p:cNvPr id="26" name="Google Shape;26;p7"/>
          <p:cNvSpPr txBox="1">
            <a:spLocks noGrp="1"/>
          </p:cNvSpPr>
          <p:nvPr>
            <p:ph type="title"/>
          </p:nvPr>
        </p:nvSpPr>
        <p:spPr>
          <a:xfrm>
            <a:off x="6582743" y="720167"/>
            <a:ext cx="4647795" cy="2709427"/>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a:solidFill>
                  <a:schemeClr val="accent2"/>
                </a:solidFil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27" name="Google Shape;27;p7"/>
          <p:cNvSpPr txBox="1">
            <a:spLocks noGrp="1"/>
          </p:cNvSpPr>
          <p:nvPr>
            <p:ph type="subTitle" idx="1"/>
          </p:nvPr>
        </p:nvSpPr>
        <p:spPr>
          <a:xfrm>
            <a:off x="6582743" y="3429794"/>
            <a:ext cx="4647795" cy="2608604"/>
          </a:xfrm>
          <a:prstGeom prst="rect">
            <a:avLst/>
          </a:prstGeom>
        </p:spPr>
        <p:txBody>
          <a:bodyPr spcFirstLastPara="1" wrap="square" lIns="91425" tIns="91425" rIns="91425" bIns="91425" anchor="t" anchorCtr="0">
            <a:noAutofit/>
          </a:bodyPr>
          <a:lstStyle>
            <a:lvl1pPr lvl="0">
              <a:spcBef>
                <a:spcPts val="0"/>
              </a:spcBef>
              <a:spcAft>
                <a:spcPts val="0"/>
              </a:spcAft>
              <a:buSzPts val="1600"/>
              <a:buNone/>
              <a:defRPr/>
            </a:lvl1pPr>
            <a:lvl2pPr lvl="1">
              <a:spcBef>
                <a:spcPts val="0"/>
              </a:spcBef>
              <a:spcAft>
                <a:spcPts val="0"/>
              </a:spcAft>
              <a:buSzPts val="1600"/>
              <a:buNone/>
              <a:defRPr/>
            </a:lvl2pPr>
            <a:lvl3pPr lvl="2">
              <a:spcBef>
                <a:spcPts val="0"/>
              </a:spcBef>
              <a:spcAft>
                <a:spcPts val="0"/>
              </a:spcAft>
              <a:buSzPts val="16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41276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862800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745" y="1665292"/>
            <a:ext cx="11231357" cy="324010"/>
          </a:xfrm>
        </p:spPr>
        <p:txBody>
          <a:bodyPr/>
          <a:lstStyle>
            <a:lvl1pPr marL="12699" indent="114286">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744" y="2277400"/>
            <a:ext cx="1123098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7"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
        <p:nvSpPr>
          <p:cNvPr id="6" name="Titre 1"/>
          <p:cNvSpPr txBox="1">
            <a:spLocks/>
          </p:cNvSpPr>
          <p:nvPr userDrawn="1"/>
        </p:nvSpPr>
        <p:spPr>
          <a:xfrm>
            <a:off x="1197154" y="79186"/>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211729307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lvl1pPr>
              <a:defRPr>
                <a:solidFill>
                  <a:schemeClr val="bg1"/>
                </a:solidFill>
              </a:defRPr>
            </a:lvl1p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15" y="2085334"/>
            <a:ext cx="3359563" cy="3841316"/>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5425"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0912" y="2085334"/>
            <a:ext cx="3359563" cy="3815232"/>
          </a:xfrm>
        </p:spPr>
        <p:txBody>
          <a:bodyPr/>
          <a:lstStyle>
            <a:lvl1pPr marL="191976" indent="-191976">
              <a:spcBef>
                <a:spcPts val="533"/>
              </a:spcBef>
              <a:spcAft>
                <a:spcPts val="1067"/>
              </a:spcAft>
              <a:buFont typeface="+mj-lt"/>
              <a:buAutoNum type="arabicPeriod"/>
              <a:defRPr b="1"/>
            </a:lvl1pPr>
            <a:lvl2pPr marL="431946" indent="-19197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745" y="910613"/>
            <a:ext cx="11231689" cy="720155"/>
          </a:xfrm>
        </p:spPr>
        <p:txBody>
          <a:bodyPr/>
          <a:lstStyle/>
          <a:p>
            <a:r>
              <a:rPr lang="fr-FR" dirty="0"/>
              <a:t>Sommaire</a:t>
            </a:r>
          </a:p>
        </p:txBody>
      </p:sp>
      <p:sp>
        <p:nvSpPr>
          <p:cNvPr id="7" name="Titre 1"/>
          <p:cNvSpPr txBox="1">
            <a:spLocks/>
          </p:cNvSpPr>
          <p:nvPr userDrawn="1"/>
        </p:nvSpPr>
        <p:spPr>
          <a:xfrm>
            <a:off x="1197154" y="92837"/>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Tree>
    <p:extLst>
      <p:ext uri="{BB962C8B-B14F-4D97-AF65-F5344CB8AC3E}">
        <p14:creationId xmlns:p14="http://schemas.microsoft.com/office/powerpoint/2010/main" val="103746117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745" y="910613"/>
            <a:ext cx="11231689" cy="720155"/>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15" y="2277400"/>
            <a:ext cx="3408184"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239"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6"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45229225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14" y="2085333"/>
            <a:ext cx="3359563" cy="3841316"/>
          </a:xfrm>
        </p:spPr>
        <p:txBody>
          <a:bodyPr/>
          <a:lstStyle>
            <a:lvl1pPr marL="191981" indent="-191981">
              <a:spcBef>
                <a:spcPts val="533"/>
              </a:spcBef>
              <a:spcAft>
                <a:spcPts val="1067"/>
              </a:spcAft>
              <a:buFont typeface="+mj-lt"/>
              <a:buAutoNum type="arabicPeriod"/>
              <a:defRPr b="1"/>
            </a:lvl1pPr>
            <a:lvl2pPr marL="431957" indent="-191981">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5425" y="2085333"/>
            <a:ext cx="3359563" cy="3815233"/>
          </a:xfrm>
        </p:spPr>
        <p:txBody>
          <a:bodyPr/>
          <a:lstStyle>
            <a:lvl1pPr marL="191981" indent="-191981">
              <a:spcBef>
                <a:spcPts val="533"/>
              </a:spcBef>
              <a:spcAft>
                <a:spcPts val="1067"/>
              </a:spcAft>
              <a:buFont typeface="+mj-lt"/>
              <a:buAutoNum type="arabicPeriod"/>
              <a:defRPr b="1"/>
            </a:lvl1pPr>
            <a:lvl2pPr marL="431957" indent="-191981">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0911" y="2085333"/>
            <a:ext cx="3359563" cy="3815233"/>
          </a:xfrm>
        </p:spPr>
        <p:txBody>
          <a:bodyPr/>
          <a:lstStyle>
            <a:lvl1pPr marL="191981" indent="-191981">
              <a:spcBef>
                <a:spcPts val="533"/>
              </a:spcBef>
              <a:spcAft>
                <a:spcPts val="1067"/>
              </a:spcAft>
              <a:buFont typeface="+mj-lt"/>
              <a:buAutoNum type="arabicPeriod"/>
              <a:defRPr b="1"/>
            </a:lvl1pPr>
            <a:lvl2pPr marL="431957" indent="-191981">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6/12/2022</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745" y="910613"/>
            <a:ext cx="11231688" cy="720155"/>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28222250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431315"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244" y="2277400"/>
            <a:ext cx="7487857" cy="3841316"/>
          </a:xfrm>
        </p:spPr>
        <p:txBody>
          <a:bodyPr/>
          <a:lstStyle/>
          <a:p>
            <a:r>
              <a:rPr lang="fr-FR" dirty="0" smtClean="0"/>
              <a:t>Cliquez sur l'icône pour ajouter une imag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404372202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12" name="Espace réservé du texte 11"/>
          <p:cNvSpPr>
            <a:spLocks noGrp="1"/>
          </p:cNvSpPr>
          <p:nvPr>
            <p:ph type="body" sz="quarter" idx="14" hasCustomPrompt="1"/>
          </p:nvPr>
        </p:nvSpPr>
        <p:spPr bwMode="gray">
          <a:xfrm>
            <a:off x="8303164" y="2277400"/>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2"/>
            <a:ext cx="11231357" cy="324010"/>
          </a:xfrm>
        </p:spPr>
        <p:txBody>
          <a:bodyPr/>
          <a:lstStyle>
            <a:lvl1pPr marL="0" indent="126984">
              <a:spcBef>
                <a:spcPts val="533"/>
              </a:spcBef>
              <a:spcAft>
                <a:spcPts val="1067"/>
              </a:spcAft>
              <a:buFont typeface="+mj-lt"/>
              <a:buNone/>
              <a:tabLst/>
              <a:defRPr sz="2000" b="1">
                <a:solidFill>
                  <a:schemeClr val="tx1">
                    <a:lumMod val="50000"/>
                    <a:lumOff val="50000"/>
                  </a:schemeClr>
                </a:solidFill>
              </a:defRPr>
            </a:lvl1pPr>
            <a:lvl2pPr marL="431946" indent="-19197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9" cy="720155"/>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15" y="2277401"/>
            <a:ext cx="7680384" cy="3840522"/>
          </a:xfrm>
        </p:spPr>
        <p:txBody>
          <a:bodyPr/>
          <a:lstStyle/>
          <a:p>
            <a:r>
              <a:rPr lang="fr-FR" dirty="0" smtClean="0"/>
              <a:t>Cliquez sur l'icône pour ajouter un graphique</a:t>
            </a:r>
            <a:endParaRPr lang="fr-FR" dirty="0"/>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0"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58688079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744" y="2853597"/>
            <a:ext cx="11230538" cy="3058340"/>
          </a:xfrm>
        </p:spPr>
        <p:txBody>
          <a:bodyPr/>
          <a:lstStyle>
            <a:lvl1pPr>
              <a:lnSpc>
                <a:spcPct val="90000"/>
              </a:lnSpc>
              <a:spcAft>
                <a:spcPts val="0"/>
              </a:spcAft>
              <a:defRPr sz="4333" b="1" cap="all" baseline="0"/>
            </a:lvl1pPr>
            <a:lvl2pPr marL="122752" indent="0">
              <a:spcBef>
                <a:spcPts val="667"/>
              </a:spcBef>
              <a:spcAft>
                <a:spcPts val="0"/>
              </a:spcAft>
              <a:buNone/>
              <a:tabLst/>
              <a:defRPr sz="2467"/>
            </a:lvl2pPr>
          </a:lstStyle>
          <a:p>
            <a:pPr lvl="0"/>
            <a:r>
              <a:rPr lang="fr-FR" dirty="0"/>
              <a:t>Titre</a:t>
            </a:r>
          </a:p>
          <a:p>
            <a:pPr lvl="1"/>
            <a:r>
              <a:rPr lang="fr-FR" dirty="0"/>
              <a:t>Sous-titre</a:t>
            </a:r>
          </a:p>
        </p:txBody>
      </p: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745" y="6398324"/>
            <a:ext cx="1613703" cy="461266"/>
          </a:xfrm>
          <a:prstGeom prst="rect">
            <a:avLst/>
          </a:prstGeom>
        </p:spPr>
        <p:txBody>
          <a:bodyPr vert="horz" lIns="0" tIns="0" rIns="0" bIns="0" rtlCol="0" anchor="ctr" anchorCtr="0">
            <a:noAutofit/>
          </a:bodyPr>
          <a:lstStyle>
            <a:lvl1pPr algn="l">
              <a:defRPr sz="1000" b="1">
                <a:solidFill>
                  <a:schemeClr val="tx1"/>
                </a:solidFill>
              </a:defRPr>
            </a:lvl1pPr>
          </a:lstStyle>
          <a:p>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39970" y="164675"/>
            <a:ext cx="2687297" cy="209315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Tree>
    <p:extLst>
      <p:ext uri="{BB962C8B-B14F-4D97-AF65-F5344CB8AC3E}">
        <p14:creationId xmlns:p14="http://schemas.microsoft.com/office/powerpoint/2010/main" val="345579957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228"/>
            <a:ext cx="12190413" cy="5926649"/>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650" y="6398324"/>
            <a:ext cx="1559797" cy="461266"/>
          </a:xfrm>
          <a:prstGeom prst="rect">
            <a:avLst/>
          </a:prstGeom>
        </p:spPr>
        <p:txBody>
          <a:bodyPr vert="horz" lIns="0" tIns="0" rIns="0" bIns="0" rtlCol="0" anchor="ctr" anchorCtr="0">
            <a:noAutofit/>
          </a:bodyPr>
          <a:lstStyle>
            <a:lvl1pPr algn="l">
              <a:defRPr sz="1000" b="1">
                <a:solidFill>
                  <a:schemeClr val="bg1"/>
                </a:solidFill>
              </a:defRPr>
            </a:lvl1pPr>
          </a:lstStyle>
          <a:p>
            <a:endParaRPr lang="fr-FR" cap="all" dirty="0"/>
          </a:p>
        </p:txBody>
      </p:sp>
      <p:sp>
        <p:nvSpPr>
          <p:cNvPr id="2" name="Titre 1"/>
          <p:cNvSpPr>
            <a:spLocks noGrp="1"/>
          </p:cNvSpPr>
          <p:nvPr>
            <p:ph type="title" hasCustomPrompt="1"/>
          </p:nvPr>
        </p:nvSpPr>
        <p:spPr bwMode="gray">
          <a:xfrm>
            <a:off x="479937" y="984228"/>
            <a:ext cx="11230538" cy="5396449"/>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34" indent="-527934">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Tree>
    <p:extLst>
      <p:ext uri="{BB962C8B-B14F-4D97-AF65-F5344CB8AC3E}">
        <p14:creationId xmlns:p14="http://schemas.microsoft.com/office/powerpoint/2010/main" val="346643932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9532"/>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959875" y="5830616"/>
            <a:ext cx="4319438" cy="597401"/>
          </a:xfrm>
          <a:prstGeom prst="rect">
            <a:avLst/>
          </a:prstGeom>
        </p:spPr>
        <p:txBody>
          <a:bodyPr anchor="ctr" anchorCtr="0"/>
          <a:lstStyle>
            <a:lvl1pPr algn="l">
              <a:defRPr sz="1533"/>
            </a:lvl1pPr>
          </a:lstStyle>
          <a:p>
            <a:endParaRPr lang="fr-FR" dirty="0"/>
          </a:p>
        </p:txBody>
      </p:sp>
      <p:sp>
        <p:nvSpPr>
          <p:cNvPr id="6" name="Espace réservé du numéro de diapositive 5"/>
          <p:cNvSpPr>
            <a:spLocks noGrp="1"/>
          </p:cNvSpPr>
          <p:nvPr>
            <p:ph type="sldNum" sz="quarter" idx="12"/>
          </p:nvPr>
        </p:nvSpPr>
        <p:spPr bwMode="gray">
          <a:xfrm>
            <a:off x="0" y="6619532"/>
            <a:ext cx="239969" cy="240056"/>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472" y="260710"/>
            <a:ext cx="4754750" cy="3703512"/>
          </a:xfrm>
          <a:prstGeom prst="rect">
            <a:avLst/>
          </a:prstGeom>
        </p:spPr>
      </p:pic>
    </p:spTree>
    <p:extLst>
      <p:ext uri="{BB962C8B-B14F-4D97-AF65-F5344CB8AC3E}">
        <p14:creationId xmlns:p14="http://schemas.microsoft.com/office/powerpoint/2010/main" val="115102968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3589537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re de section">
    <p:spTree>
      <p:nvGrpSpPr>
        <p:cNvPr id="1" name=""/>
        <p:cNvGrpSpPr/>
        <p:nvPr/>
      </p:nvGrpSpPr>
      <p:grpSpPr>
        <a:xfrm>
          <a:off x="0" y="0"/>
          <a:ext cx="0" cy="0"/>
          <a:chOff x="0" y="0"/>
          <a:chExt cx="0" cy="0"/>
        </a:xfrm>
      </p:grpSpPr>
      <p:sp>
        <p:nvSpPr>
          <p:cNvPr id="9" name="Rectangle 8"/>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11" name="Rectangle 10"/>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pic>
        <p:nvPicPr>
          <p:cNvPr id="23" name="Image 22"/>
          <p:cNvPicPr>
            <a:picLocks noChangeAspect="1"/>
          </p:cNvPicPr>
          <p:nvPr userDrawn="1"/>
        </p:nvPicPr>
        <p:blipFill>
          <a:blip r:embed="rId2"/>
          <a:stretch>
            <a:fillRect/>
          </a:stretch>
        </p:blipFill>
        <p:spPr>
          <a:xfrm>
            <a:off x="10538251" y="165399"/>
            <a:ext cx="1466741" cy="612142"/>
          </a:xfrm>
          <a:prstGeom prst="rect">
            <a:avLst/>
          </a:prstGeom>
        </p:spPr>
      </p:pic>
      <p:sp>
        <p:nvSpPr>
          <p:cNvPr id="25" name="Titre 1"/>
          <p:cNvSpPr txBox="1">
            <a:spLocks/>
          </p:cNvSpPr>
          <p:nvPr userDrawn="1"/>
        </p:nvSpPr>
        <p:spPr>
          <a:xfrm>
            <a:off x="1557078" y="163138"/>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12" name="Rectangle 9"/>
          <p:cNvSpPr>
            <a:spLocks noChangeArrowheads="1"/>
          </p:cNvSpPr>
          <p:nvPr userDrawn="1"/>
        </p:nvSpPr>
        <p:spPr bwMode="auto">
          <a:xfrm flipV="1">
            <a:off x="1248329" y="590937"/>
            <a:ext cx="9262794" cy="36008"/>
          </a:xfrm>
          <a:prstGeom prst="rect">
            <a:avLst/>
          </a:prstGeom>
          <a:solidFill>
            <a:srgbClr val="004192"/>
          </a:solidFill>
          <a:ln w="9525">
            <a:noFill/>
            <a:miter lim="800000"/>
            <a:headEnd/>
            <a:tailEnd/>
          </a:ln>
        </p:spPr>
        <p:txBody>
          <a:bodyPr wrap="none" anchor="ctr"/>
          <a:lstStyle/>
          <a:p>
            <a:pPr algn="ctr" eaLnBrk="0" hangingPunct="0">
              <a:defRPr/>
            </a:pPr>
            <a:r>
              <a:rPr lang="fr-FR" sz="2400" dirty="0">
                <a:latin typeface="Arial" panose="020B0604020202020204" pitchFamily="34" charset="0"/>
                <a:cs typeface="Arial" panose="020B0604020202020204" pitchFamily="34" charset="0"/>
              </a:rPr>
              <a:t> </a:t>
            </a:r>
          </a:p>
        </p:txBody>
      </p:sp>
      <p:sp>
        <p:nvSpPr>
          <p:cNvPr id="13" name="Espace réservé du numéro de diapositive 4"/>
          <p:cNvSpPr>
            <a:spLocks noGrp="1"/>
          </p:cNvSpPr>
          <p:nvPr>
            <p:ph type="sldNum" sz="quarter" idx="12"/>
          </p:nvPr>
        </p:nvSpPr>
        <p:spPr bwMode="gray">
          <a:xfrm>
            <a:off x="9863667" y="6379477"/>
            <a:ext cx="1799766" cy="480111"/>
          </a:xfrm>
        </p:spPr>
        <p:txBody>
          <a:bodyPr/>
          <a:lstStyle>
            <a:lvl1pPr>
              <a:defRPr>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90015124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Master Slide" type="title">
  <p:cSld name="Master Slide">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5989968" y="6430866"/>
            <a:ext cx="210477" cy="148089"/>
          </a:xfrm>
          <a:prstGeom prst="rect">
            <a:avLst/>
          </a:prstGeom>
          <a:noFill/>
          <a:ln>
            <a:noFill/>
          </a:ln>
        </p:spPr>
        <p:txBody>
          <a:bodyPr spcFirstLastPara="1" wrap="square" lIns="0" tIns="0" rIns="0" bIns="0" anchor="t" anchorCtr="0">
            <a:noAutofit/>
          </a:bodyPr>
          <a:lstStyle>
            <a:lvl1pPr marL="0" lvl="0"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1pPr>
            <a:lvl2pPr marL="0" lvl="1"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2pPr>
            <a:lvl3pPr marL="0" lvl="2"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3pPr>
            <a:lvl4pPr marL="0" lvl="3"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4pPr>
            <a:lvl5pPr marL="0" lvl="4"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5pPr>
            <a:lvl6pPr marL="0" lvl="5"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6pPr>
            <a:lvl7pPr marL="0" lvl="6"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7pPr>
            <a:lvl8pPr marL="0" lvl="7"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8pPr>
            <a:lvl9pPr marL="0" lvl="8" indent="0" algn="ctr">
              <a:lnSpc>
                <a:spcPct val="100000"/>
              </a:lnSpc>
              <a:spcBef>
                <a:spcPts val="0"/>
              </a:spcBef>
              <a:spcAft>
                <a:spcPts val="0"/>
              </a:spcAft>
              <a:buClr>
                <a:srgbClr val="262626"/>
              </a:buClr>
              <a:buSzPts val="1500"/>
              <a:buFont typeface="Helvetica Neue"/>
              <a:buNone/>
              <a:defRPr sz="1055" cap="none">
                <a:solidFill>
                  <a:srgbClr val="262626"/>
                </a:solidFill>
                <a:latin typeface="Helvetica Neue"/>
                <a:ea typeface="Helvetica Neue"/>
                <a:cs typeface="Helvetica Neue"/>
                <a:sym typeface="Helvetica Neue"/>
              </a:defRPr>
            </a:lvl9pPr>
          </a:lstStyle>
          <a:p>
            <a:fld id="{00000000-1234-1234-1234-123412341234}" type="slidenum">
              <a:rPr lang="en-US" smtClean="0"/>
              <a:pPr/>
              <a:t>‹N°›</a:t>
            </a:fld>
            <a:endParaRPr lang="en-US"/>
          </a:p>
        </p:txBody>
      </p:sp>
    </p:spTree>
    <p:extLst>
      <p:ext uri="{BB962C8B-B14F-4D97-AF65-F5344CB8AC3E}">
        <p14:creationId xmlns:p14="http://schemas.microsoft.com/office/powerpoint/2010/main" val="24010086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6/12/2022</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745" y="1665291"/>
            <a:ext cx="11231357" cy="324010"/>
          </a:xfrm>
        </p:spPr>
        <p:txBody>
          <a:bodyPr/>
          <a:lstStyle>
            <a:lvl1pPr marL="0" indent="126987">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745" y="910613"/>
            <a:ext cx="11231688" cy="720155"/>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15" y="2277399"/>
            <a:ext cx="3408184"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239"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3164"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1179342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14"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6/12/2022</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1"/>
            <a:ext cx="11231357" cy="324010"/>
          </a:xfrm>
        </p:spPr>
        <p:txBody>
          <a:bodyPr/>
          <a:lstStyle>
            <a:lvl1pPr marL="0" indent="126987">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8" cy="720155"/>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243" y="2277399"/>
            <a:ext cx="7487857" cy="3841316"/>
          </a:xfrm>
        </p:spPr>
        <p:txBody>
          <a:bodyPr/>
          <a:lstStyle/>
          <a:p>
            <a:r>
              <a:rPr lang="fr-FR" smtClean="0"/>
              <a:t>Cliquez sur l'icône pour ajouter une image</a:t>
            </a:r>
            <a:endParaRPr lang="fr-F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4109830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3164" y="2277399"/>
            <a:ext cx="3359563" cy="3841316"/>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6/12/2022</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745" y="1665291"/>
            <a:ext cx="11231357" cy="324010"/>
          </a:xfrm>
        </p:spPr>
        <p:txBody>
          <a:bodyPr/>
          <a:lstStyle>
            <a:lvl1pPr marL="0" indent="126987">
              <a:spcBef>
                <a:spcPts val="533"/>
              </a:spcBef>
              <a:spcAft>
                <a:spcPts val="1067"/>
              </a:spcAft>
              <a:buFont typeface="+mj-lt"/>
              <a:buNone/>
              <a:tabLst/>
              <a:defRPr sz="2000" b="1">
                <a:solidFill>
                  <a:schemeClr val="tx1">
                    <a:lumMod val="50000"/>
                    <a:lumOff val="50000"/>
                  </a:schemeClr>
                </a:solidFill>
              </a:defRPr>
            </a:lvl1pPr>
            <a:lvl2pPr marL="431957" indent="-191981">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745" y="910613"/>
            <a:ext cx="11231688" cy="720155"/>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15" y="2277400"/>
            <a:ext cx="7680384" cy="3840522"/>
          </a:xfrm>
        </p:spPr>
        <p:txBody>
          <a:bodyPr/>
          <a:lstStyle/>
          <a:p>
            <a:r>
              <a:rPr lang="fr-FR" smtClean="0"/>
              <a:t>Cliquez sur l'icône pour ajouter un graphique</a:t>
            </a:r>
            <a:endParaRPr lang="fr-F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1016942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744" y="2853597"/>
            <a:ext cx="11230538" cy="3058340"/>
          </a:xfrm>
        </p:spPr>
        <p:txBody>
          <a:bodyPr/>
          <a:lstStyle>
            <a:lvl1pPr>
              <a:lnSpc>
                <a:spcPct val="90000"/>
              </a:lnSpc>
              <a:spcAft>
                <a:spcPts val="0"/>
              </a:spcAft>
              <a:defRPr sz="4333" b="1" cap="all" baseline="0"/>
            </a:lvl1pPr>
            <a:lvl2pPr marL="122754" indent="0">
              <a:spcBef>
                <a:spcPts val="667"/>
              </a:spcBef>
              <a:spcAft>
                <a:spcPts val="0"/>
              </a:spcAft>
              <a:buNone/>
              <a:tabLst/>
              <a:defRPr sz="2466"/>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744" y="6380677"/>
            <a:ext cx="11231357"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745" y="6398323"/>
            <a:ext cx="1613703" cy="461265"/>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6/12/2022</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3666" y="6379477"/>
            <a:ext cx="1799766" cy="480111"/>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39970" y="266702"/>
            <a:ext cx="3031913" cy="1914665"/>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37482644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228"/>
            <a:ext cx="12190413" cy="5926649"/>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650" y="6398323"/>
            <a:ext cx="1559797" cy="461265"/>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6/12/2022</a:t>
            </a:fld>
            <a:endParaRPr lang="fr-FR" cap="all" dirty="0"/>
          </a:p>
        </p:txBody>
      </p:sp>
      <p:sp>
        <p:nvSpPr>
          <p:cNvPr id="2" name="Titre 1"/>
          <p:cNvSpPr>
            <a:spLocks noGrp="1"/>
          </p:cNvSpPr>
          <p:nvPr>
            <p:ph type="title" hasCustomPrompt="1"/>
          </p:nvPr>
        </p:nvSpPr>
        <p:spPr bwMode="gray">
          <a:xfrm>
            <a:off x="479936" y="984228"/>
            <a:ext cx="11230538" cy="5396449"/>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47" indent="-52794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3666"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3639409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9532"/>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6/12/2022</a:t>
            </a:fld>
            <a:endParaRPr lang="fr-FR" dirty="0"/>
          </a:p>
        </p:txBody>
      </p:sp>
      <p:sp>
        <p:nvSpPr>
          <p:cNvPr id="5" name="Espace réservé du pied de page 4"/>
          <p:cNvSpPr>
            <a:spLocks noGrp="1"/>
          </p:cNvSpPr>
          <p:nvPr>
            <p:ph type="ftr" sz="quarter" idx="11"/>
          </p:nvPr>
        </p:nvSpPr>
        <p:spPr bwMode="gray">
          <a:xfrm>
            <a:off x="959875" y="5830616"/>
            <a:ext cx="4319438" cy="597401"/>
          </a:xfrm>
          <a:prstGeom prst="rect">
            <a:avLst/>
          </a:prstGeom>
        </p:spPr>
        <p:txBody>
          <a:bodyPr anchor="ctr" anchorCtr="0"/>
          <a:lstStyle>
            <a:lvl1pPr algn="l">
              <a:defRPr sz="1533"/>
            </a:lvl1pPr>
          </a:lstStyle>
          <a:p>
            <a:r>
              <a:rPr lang="fr-FR" dirty="0" smtClean="0"/>
              <a:t>Direction générale</a:t>
            </a:r>
          </a:p>
          <a:p>
            <a:r>
              <a:rPr lang="fr-FR" dirty="0" smtClean="0"/>
              <a:t>de la santé</a:t>
            </a:r>
            <a:endParaRPr lang="fr-FR" dirty="0"/>
          </a:p>
        </p:txBody>
      </p:sp>
      <p:sp>
        <p:nvSpPr>
          <p:cNvPr id="6" name="Espace réservé du numéro de diapositive 5"/>
          <p:cNvSpPr>
            <a:spLocks noGrp="1"/>
          </p:cNvSpPr>
          <p:nvPr>
            <p:ph type="sldNum" sz="quarter" idx="12"/>
          </p:nvPr>
        </p:nvSpPr>
        <p:spPr bwMode="gray">
          <a:xfrm>
            <a:off x="0" y="6619532"/>
            <a:ext cx="239969" cy="240056"/>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39969" cy="240056"/>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471" y="611141"/>
            <a:ext cx="5527886" cy="3490883"/>
          </a:xfrm>
          <a:prstGeom prst="rect">
            <a:avLst/>
          </a:prstGeom>
        </p:spPr>
      </p:pic>
    </p:spTree>
    <p:extLst>
      <p:ext uri="{BB962C8B-B14F-4D97-AF65-F5344CB8AC3E}">
        <p14:creationId xmlns:p14="http://schemas.microsoft.com/office/powerpoint/2010/main" val="146940269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10" Type="http://schemas.openxmlformats.org/officeDocument/2006/relationships/image" Target="../media/image1.png"/><Relationship Id="rId4" Type="http://schemas.openxmlformats.org/officeDocument/2006/relationships/slideLayout" Target="../slideLayouts/slideLayout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3.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1.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7.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4.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4.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5.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245868"/>
      </p:ext>
    </p:extLst>
  </p:cSld>
  <p:clrMap bg1="lt1" tx1="dk1" bg2="lt2" tx2="dk2" accent1="accent1" accent2="accent2" accent3="accent3" accent4="accent4" accent5="accent5" accent6="accent6" hlink="hlink" folHlink="folHlink"/>
  <p:sldLayoutIdLst>
    <p:sldLayoutId id="2147483756" r:id="rId1"/>
  </p:sldLayoutIdLst>
  <p:timing>
    <p:tnLst>
      <p:par>
        <p:cTn id="1" dur="indefinite" restart="never" nodeType="tmRoot"/>
      </p:par>
    </p:tnLst>
  </p:timing>
  <p:txStyles>
    <p:title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00"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700"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745" y="2277400"/>
            <a:ext cx="11231688" cy="393734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9863666" y="6379477"/>
            <a:ext cx="1799766" cy="480111"/>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744" y="6380677"/>
            <a:ext cx="11231357"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745" y="910613"/>
            <a:ext cx="11231688" cy="720155"/>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883" y="6379478"/>
            <a:ext cx="2742843" cy="366267"/>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6/12/2022</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79938" y="6380677"/>
            <a:ext cx="11230538"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gray">
          <a:xfrm>
            <a:off x="383949" y="68643"/>
            <a:ext cx="1262369" cy="797191"/>
          </a:xfrm>
          <a:prstGeom prst="rect">
            <a:avLst/>
          </a:prstGeom>
        </p:spPr>
      </p:pic>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4545" y="260708"/>
            <a:ext cx="7838888" cy="480111"/>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smtClean="0"/>
              <a:t>Direction générale de la santé</a:t>
            </a:r>
            <a:endParaRPr lang="fr-FR" dirty="0"/>
          </a:p>
        </p:txBody>
      </p:sp>
    </p:spTree>
    <p:extLst>
      <p:ext uri="{BB962C8B-B14F-4D97-AF65-F5344CB8AC3E}">
        <p14:creationId xmlns:p14="http://schemas.microsoft.com/office/powerpoint/2010/main" val="365968112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Lst>
  <p:hf hdr="0"/>
  <p:txStyles>
    <p:titleStyle>
      <a:lvl1pPr marL="19049" indent="0" algn="l" defTabSz="1219078"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4" indent="0" algn="l" defTabSz="1219078" rtl="0" eaLnBrk="1" latinLnBrk="0" hangingPunct="1">
        <a:lnSpc>
          <a:spcPct val="100000"/>
        </a:lnSpc>
        <a:spcBef>
          <a:spcPts val="0"/>
        </a:spcBef>
        <a:spcAft>
          <a:spcPts val="667"/>
        </a:spcAft>
        <a:buFont typeface="Arial" pitchFamily="34" charset="0"/>
        <a:buNone/>
        <a:tabLst/>
        <a:defRPr sz="1866" b="0" kern="1200">
          <a:solidFill>
            <a:schemeClr val="tx1"/>
          </a:solidFill>
          <a:latin typeface="+mn-lt"/>
          <a:ea typeface="+mn-ea"/>
          <a:cs typeface="+mn-cs"/>
        </a:defRPr>
      </a:lvl1pPr>
      <a:lvl2pPr marL="468553" indent="-228577" algn="l" defTabSz="1219078"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29" indent="-228577" algn="l" defTabSz="1219078"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05" indent="-228577" algn="l" defTabSz="1219078"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76" indent="-228577" algn="l" defTabSz="1219078"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465"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2004"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266773" indent="0" algn="l" defTabSz="1219078" rtl="0" eaLnBrk="1" latinLnBrk="0" hangingPunct="1">
        <a:spcBef>
          <a:spcPct val="20000"/>
        </a:spcBef>
        <a:buFont typeface="Arial" pitchFamily="34" charset="0"/>
        <a:buNone/>
        <a:defRPr sz="2666" kern="1200">
          <a:solidFill>
            <a:schemeClr val="tx1"/>
          </a:solidFill>
          <a:latin typeface="+mn-lt"/>
          <a:ea typeface="+mn-ea"/>
          <a:cs typeface="+mn-cs"/>
        </a:defRPr>
      </a:lvl8pPr>
      <a:lvl9pPr marL="5181082"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fr-FR"/>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745" y="2277401"/>
            <a:ext cx="11231689" cy="3937344"/>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745" y="910613"/>
            <a:ext cx="11231689" cy="720155"/>
          </a:xfrm>
          <a:prstGeom prst="rect">
            <a:avLst/>
          </a:prstGeom>
        </p:spPr>
        <p:txBody>
          <a:bodyPr vert="horz" lIns="91440" tIns="45720" rIns="91440" bIns="45720" rtlCol="0" anchor="ctr">
            <a:normAutofit/>
          </a:bodyPr>
          <a:lstStyle/>
          <a:p>
            <a:r>
              <a:rPr lang="fr-FR" dirty="0"/>
              <a:t>Titre </a:t>
            </a:r>
          </a:p>
        </p:txBody>
      </p:sp>
      <p:sp>
        <p:nvSpPr>
          <p:cNvPr id="7" name="Rectangle 6"/>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8" name="Rectangle 7"/>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pic>
        <p:nvPicPr>
          <p:cNvPr id="9" name="Image 8"/>
          <p:cNvPicPr>
            <a:picLocks noChangeAspect="1"/>
          </p:cNvPicPr>
          <p:nvPr userDrawn="1"/>
        </p:nvPicPr>
        <p:blipFill>
          <a:blip r:embed="rId14"/>
          <a:stretch>
            <a:fillRect/>
          </a:stretch>
        </p:blipFill>
        <p:spPr>
          <a:xfrm>
            <a:off x="10538251" y="281942"/>
            <a:ext cx="1466741" cy="612142"/>
          </a:xfrm>
          <a:prstGeom prst="rect">
            <a:avLst/>
          </a:prstGeom>
        </p:spPr>
      </p:pic>
      <p:sp>
        <p:nvSpPr>
          <p:cNvPr id="10" name="Rectangle 9"/>
          <p:cNvSpPr>
            <a:spLocks noChangeArrowheads="1"/>
          </p:cNvSpPr>
          <p:nvPr userDrawn="1"/>
        </p:nvSpPr>
        <p:spPr bwMode="auto">
          <a:xfrm flipV="1">
            <a:off x="1161554" y="703745"/>
            <a:ext cx="9358782" cy="28807"/>
          </a:xfrm>
          <a:prstGeom prst="rect">
            <a:avLst/>
          </a:prstGeom>
          <a:solidFill>
            <a:srgbClr val="004192"/>
          </a:solidFill>
          <a:ln w="9525">
            <a:noFill/>
            <a:miter lim="800000"/>
            <a:headEnd/>
            <a:tailEnd/>
          </a:ln>
        </p:spPr>
        <p:txBody>
          <a:bodyPr wrap="none" anchor="ctr"/>
          <a:lstStyle/>
          <a:p>
            <a:pPr algn="ctr" eaLnBrk="0" hangingPunct="0">
              <a:defRPr/>
            </a:pPr>
            <a:r>
              <a:rPr lang="fr-FR" sz="2400" dirty="0">
                <a:latin typeface="Arial" panose="020B0604020202020204" pitchFamily="34" charset="0"/>
                <a:cs typeface="Arial" panose="020B0604020202020204" pitchFamily="34" charset="0"/>
              </a:rPr>
              <a:t> </a:t>
            </a:r>
          </a:p>
        </p:txBody>
      </p:sp>
      <p:sp>
        <p:nvSpPr>
          <p:cNvPr id="11" name="Titre 1"/>
          <p:cNvSpPr txBox="1">
            <a:spLocks/>
          </p:cNvSpPr>
          <p:nvPr userDrawn="1"/>
        </p:nvSpPr>
        <p:spPr>
          <a:xfrm>
            <a:off x="1197154" y="195729"/>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6" name="Espace réservé du numéro de diapositive 5"/>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pic>
        <p:nvPicPr>
          <p:cNvPr id="15" name="Image 14">
            <a:extLst>
              <a:ext uri="{FF2B5EF4-FFF2-40B4-BE49-F238E27FC236}">
                <a16:creationId xmlns:a16="http://schemas.microsoft.com/office/drawing/2014/main" id="{433B51AF-3A50-3342-8D79-F2F92F599175}"/>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bwMode="gray">
          <a:xfrm>
            <a:off x="383949" y="68643"/>
            <a:ext cx="1262369" cy="797191"/>
          </a:xfrm>
          <a:prstGeom prst="rect">
            <a:avLst/>
          </a:prstGeom>
        </p:spPr>
      </p:pic>
    </p:spTree>
    <p:extLst>
      <p:ext uri="{BB962C8B-B14F-4D97-AF65-F5344CB8AC3E}">
        <p14:creationId xmlns:p14="http://schemas.microsoft.com/office/powerpoint/2010/main" val="242186038"/>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Lst>
  <p:timing>
    <p:tnLst>
      <p:par>
        <p:cTn id="1" dur="indefinite" restart="never" nodeType="tmRoot"/>
      </p:par>
    </p:tnLst>
  </p:timing>
  <p:hf hdr="0" ftr="0" dt="0"/>
  <p:txStyles>
    <p:titleStyle>
      <a:lvl1pPr marL="19048" indent="0" algn="l" defTabSz="1219048"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2" indent="0" algn="l" defTabSz="1219048"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41" indent="-228571" algn="l" defTabSz="1219048"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11" indent="-228571" algn="l" defTabSz="1219048"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481" indent="-228571" algn="l" defTabSz="1219048"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45" indent="-228571" algn="l" defTabSz="1219048"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381"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05"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666" indent="0" algn="l" defTabSz="1219048" rtl="0" eaLnBrk="1" latinLnBrk="0" hangingPunct="1">
        <a:spcBef>
          <a:spcPct val="20000"/>
        </a:spcBef>
        <a:buFont typeface="Arial" pitchFamily="34" charset="0"/>
        <a:buNone/>
        <a:defRPr sz="2667" kern="1200">
          <a:solidFill>
            <a:schemeClr val="tx1"/>
          </a:solidFill>
          <a:latin typeface="+mn-lt"/>
          <a:ea typeface="+mn-ea"/>
          <a:cs typeface="+mn-cs"/>
        </a:defRPr>
      </a:lvl8pPr>
      <a:lvl9pPr marL="5180952"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48" rtl="0" eaLnBrk="1" latinLnBrk="0" hangingPunct="1">
        <a:defRPr sz="2400" kern="1200">
          <a:solidFill>
            <a:schemeClr val="tx1"/>
          </a:solidFill>
          <a:latin typeface="+mn-lt"/>
          <a:ea typeface="+mn-ea"/>
          <a:cs typeface="+mn-cs"/>
        </a:defRPr>
      </a:lvl1pPr>
      <a:lvl2pPr marL="609524" algn="l" defTabSz="1219048" rtl="0" eaLnBrk="1" latinLnBrk="0" hangingPunct="1">
        <a:defRPr sz="2400" kern="1200">
          <a:solidFill>
            <a:schemeClr val="tx1"/>
          </a:solidFill>
          <a:latin typeface="+mn-lt"/>
          <a:ea typeface="+mn-ea"/>
          <a:cs typeface="+mn-cs"/>
        </a:defRPr>
      </a:lvl2pPr>
      <a:lvl3pPr marL="1219048" algn="l" defTabSz="1219048" rtl="0" eaLnBrk="1" latinLnBrk="0" hangingPunct="1">
        <a:defRPr sz="2400" kern="1200">
          <a:solidFill>
            <a:schemeClr val="tx1"/>
          </a:solidFill>
          <a:latin typeface="+mn-lt"/>
          <a:ea typeface="+mn-ea"/>
          <a:cs typeface="+mn-cs"/>
        </a:defRPr>
      </a:lvl3pPr>
      <a:lvl4pPr marL="1828571" algn="l" defTabSz="1219048" rtl="0" eaLnBrk="1" latinLnBrk="0" hangingPunct="1">
        <a:defRPr sz="2400" kern="1200">
          <a:solidFill>
            <a:schemeClr val="tx1"/>
          </a:solidFill>
          <a:latin typeface="+mn-lt"/>
          <a:ea typeface="+mn-ea"/>
          <a:cs typeface="+mn-cs"/>
        </a:defRPr>
      </a:lvl4pPr>
      <a:lvl5pPr marL="2438095" algn="l" defTabSz="1219048" rtl="0" eaLnBrk="1" latinLnBrk="0" hangingPunct="1">
        <a:defRPr sz="2400" kern="1200">
          <a:solidFill>
            <a:schemeClr val="tx1"/>
          </a:solidFill>
          <a:latin typeface="+mn-lt"/>
          <a:ea typeface="+mn-ea"/>
          <a:cs typeface="+mn-cs"/>
        </a:defRPr>
      </a:lvl5pPr>
      <a:lvl6pPr marL="3047619" algn="l" defTabSz="1219048" rtl="0" eaLnBrk="1" latinLnBrk="0" hangingPunct="1">
        <a:defRPr sz="2400" kern="1200">
          <a:solidFill>
            <a:schemeClr val="tx1"/>
          </a:solidFill>
          <a:latin typeface="+mn-lt"/>
          <a:ea typeface="+mn-ea"/>
          <a:cs typeface="+mn-cs"/>
        </a:defRPr>
      </a:lvl6pPr>
      <a:lvl7pPr marL="3657143" algn="l" defTabSz="1219048" rtl="0" eaLnBrk="1" latinLnBrk="0" hangingPunct="1">
        <a:defRPr sz="2400" kern="1200">
          <a:solidFill>
            <a:schemeClr val="tx1"/>
          </a:solidFill>
          <a:latin typeface="+mn-lt"/>
          <a:ea typeface="+mn-ea"/>
          <a:cs typeface="+mn-cs"/>
        </a:defRPr>
      </a:lvl7pPr>
      <a:lvl8pPr marL="4266666" algn="l" defTabSz="1219048" rtl="0" eaLnBrk="1" latinLnBrk="0" hangingPunct="1">
        <a:defRPr sz="2400" kern="1200">
          <a:solidFill>
            <a:schemeClr val="tx1"/>
          </a:solidFill>
          <a:latin typeface="+mn-lt"/>
          <a:ea typeface="+mn-ea"/>
          <a:cs typeface="+mn-cs"/>
        </a:defRPr>
      </a:lvl8pPr>
      <a:lvl9pPr marL="4876190" algn="l" defTabSz="121904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guide id="3" orient="horz" pos="73">
          <p15:clr>
            <a:srgbClr val="F26B43"/>
          </p15:clr>
        </p15:guide>
        <p15:guide id="4" orient="horz" pos="300">
          <p15:clr>
            <a:srgbClr val="F26B43"/>
          </p15:clr>
        </p15:guide>
        <p15:guide id="5" orient="horz" pos="48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p:nvPr userDrawn="1"/>
        </p:nvSpPr>
        <p:spPr>
          <a:xfrm>
            <a:off x="0" y="6506092"/>
            <a:ext cx="12190413" cy="360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Espace réservé du numéro de diapositive 6"/>
          <p:cNvSpPr>
            <a:spLocks noGrp="1"/>
          </p:cNvSpPr>
          <p:nvPr>
            <p:ph type="sldNum" sz="quarter" idx="4"/>
          </p:nvPr>
        </p:nvSpPr>
        <p:spPr>
          <a:xfrm>
            <a:off x="10943205" y="6560092"/>
            <a:ext cx="814678" cy="252000"/>
          </a:xfrm>
          <a:prstGeom prst="rect">
            <a:avLst/>
          </a:prstGeom>
        </p:spPr>
        <p:txBody>
          <a:bodyPr lIns="121917" tIns="60958" rIns="121917" bIns="60958" anchor="ctr"/>
          <a:lstStyle>
            <a:lvl1pPr algn="ctr">
              <a:defRPr sz="1200" b="1">
                <a:solidFill>
                  <a:schemeClr val="bg1"/>
                </a:solidFill>
                <a:latin typeface="Arial" panose="020B0604020202020204" pitchFamily="34" charset="0"/>
                <a:cs typeface="Arial" panose="020B0604020202020204" pitchFamily="34" charset="0"/>
              </a:defRPr>
            </a:lvl1pPr>
          </a:lstStyle>
          <a:p>
            <a:fld id="{71EA4696-CE7E-4B16-ADD7-937198B6ED54}" type="slidenum">
              <a:rPr lang="fr-FR" smtClean="0"/>
              <a:pPr/>
              <a:t>‹N°›</a:t>
            </a:fld>
            <a:endParaRPr lang="fr-FR" dirty="0"/>
          </a:p>
        </p:txBody>
      </p:sp>
      <p:sp>
        <p:nvSpPr>
          <p:cNvPr id="10" name="Rectangle 9"/>
          <p:cNvSpPr/>
          <p:nvPr userDrawn="1"/>
        </p:nvSpPr>
        <p:spPr>
          <a:xfrm>
            <a:off x="4292600" y="6584492"/>
            <a:ext cx="360680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noProof="0" dirty="0" smtClean="0">
                <a:solidFill>
                  <a:schemeClr val="bg1"/>
                </a:solidFill>
                <a:latin typeface="Arial Narrow" panose="020B0606020202030204" pitchFamily="34" charset="0"/>
                <a:cs typeface="Arial" panose="020B0604020202020204" pitchFamily="34" charset="0"/>
              </a:rPr>
              <a:t>Charte d’usage Géo’DAE – Base nationale</a:t>
            </a:r>
            <a:r>
              <a:rPr lang="fr-FR" sz="1000" b="1" baseline="0" noProof="0" dirty="0" smtClean="0">
                <a:solidFill>
                  <a:schemeClr val="bg1"/>
                </a:solidFill>
                <a:latin typeface="Arial Narrow" panose="020B0606020202030204" pitchFamily="34" charset="0"/>
                <a:cs typeface="Arial" panose="020B0604020202020204" pitchFamily="34" charset="0"/>
              </a:rPr>
              <a:t> des défibrillateurs</a:t>
            </a:r>
            <a:endParaRPr lang="fr-FR" sz="1000" b="1" noProof="0" dirty="0">
              <a:solidFill>
                <a:schemeClr val="bg1"/>
              </a:solidFill>
              <a:latin typeface="Arial Narrow" panose="020B0606020202030204" pitchFamily="34" charset="0"/>
              <a:cs typeface="Arial" panose="020B0604020202020204" pitchFamily="34" charset="0"/>
            </a:endParaRPr>
          </a:p>
        </p:txBody>
      </p:sp>
      <p:sp>
        <p:nvSpPr>
          <p:cNvPr id="12" name="Rectangle 11"/>
          <p:cNvSpPr/>
          <p:nvPr userDrawn="1"/>
        </p:nvSpPr>
        <p:spPr>
          <a:xfrm>
            <a:off x="390525" y="548200"/>
            <a:ext cx="1080000" cy="72000"/>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Imag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0525" y="6560151"/>
            <a:ext cx="257175" cy="251883"/>
          </a:xfrm>
          <a:prstGeom prst="rect">
            <a:avLst/>
          </a:prstGeom>
        </p:spPr>
      </p:pic>
    </p:spTree>
    <p:extLst>
      <p:ext uri="{BB962C8B-B14F-4D97-AF65-F5344CB8AC3E}">
        <p14:creationId xmlns:p14="http://schemas.microsoft.com/office/powerpoint/2010/main" val="3977401791"/>
      </p:ext>
    </p:extLst>
  </p:cSld>
  <p:clrMap bg1="lt1" tx1="dk1" bg2="lt2" tx2="dk2" accent1="accent1" accent2="accent2" accent3="accent3" accent4="accent4" accent5="accent5" accent6="accent6" hlink="hlink" folHlink="folHlink"/>
  <p:sldLayoutIdLst>
    <p:sldLayoutId id="2147483752" r:id="rId1"/>
    <p:sldLayoutId id="2147483757" r:id="rId2"/>
    <p:sldLayoutId id="2147483771" r:id="rId3"/>
    <p:sldLayoutId id="2147483772" r:id="rId4"/>
    <p:sldLayoutId id="2147483773" r:id="rId5"/>
  </p:sldLayoutIdLst>
  <p:timing>
    <p:tnLst>
      <p:par>
        <p:cTn id="1" dur="indefinite" restart="never" nodeType="tmRoot"/>
      </p:par>
    </p:tnLst>
  </p:timing>
  <p:hf hdr="0" ftr="0" dt="0"/>
  <p:txStyles>
    <p:titleStyle>
      <a:lvl1pPr marL="0" algn="l" defTabSz="1219170" rtl="0" eaLnBrk="1" latinLnBrk="0" hangingPunct="1">
        <a:spcBef>
          <a:spcPct val="0"/>
        </a:spcBef>
        <a:buNone/>
        <a:defRPr lang="fr-FR" sz="2400" b="1" i="1" kern="1200" dirty="0">
          <a:solidFill>
            <a:schemeClr val="bg1"/>
          </a:solidFill>
          <a:latin typeface="Cambria" panose="02040503050406030204" pitchFamily="18" charset="0"/>
          <a:ea typeface="+mn-ea"/>
          <a:cs typeface="+mn-cs"/>
        </a:defRPr>
      </a:lvl1pPr>
    </p:titleStyle>
    <p:bodyStyle>
      <a:lvl1pPr marL="380990" indent="-380990" algn="l" defTabSz="1219170" rtl="0" eaLnBrk="1" latinLnBrk="0" hangingPunct="1">
        <a:spcBef>
          <a:spcPct val="20000"/>
        </a:spcBef>
        <a:spcAft>
          <a:spcPts val="1600"/>
        </a:spcAft>
        <a:buFont typeface="Arial" panose="020B0604020202020204" pitchFamily="34" charset="0"/>
        <a:buChar char="•"/>
        <a:defRPr lang="fr-FR" sz="2300" b="1" i="0" u="none" strike="noStrike" kern="1200" baseline="0" dirty="0" smtClean="0">
          <a:solidFill>
            <a:srgbClr val="3C4693"/>
          </a:solidFill>
          <a:latin typeface="+mn-lt"/>
          <a:ea typeface="+mn-ea"/>
          <a:cs typeface="+mn-cs"/>
        </a:defRPr>
      </a:lvl1pPr>
      <a:lvl2pPr marL="0" indent="0" algn="l" defTabSz="1219170" rtl="0" eaLnBrk="1" latinLnBrk="0" hangingPunct="1">
        <a:spcBef>
          <a:spcPts val="800"/>
        </a:spcBef>
        <a:spcAft>
          <a:spcPts val="800"/>
        </a:spcAft>
        <a:buFont typeface="Arial" panose="020B0604020202020204" pitchFamily="34" charset="0"/>
        <a:buNone/>
        <a:defRPr lang="fr-FR" sz="2000" b="1" kern="1200" dirty="0" smtClean="0">
          <a:solidFill>
            <a:srgbClr val="C8D223"/>
          </a:solidFill>
          <a:latin typeface="+mj-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285943" indent="-457189"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745" y="2277401"/>
            <a:ext cx="11231689" cy="3937344"/>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745" y="910613"/>
            <a:ext cx="11231689" cy="720155"/>
          </a:xfrm>
          <a:prstGeom prst="rect">
            <a:avLst/>
          </a:prstGeom>
        </p:spPr>
        <p:txBody>
          <a:bodyPr vert="horz" lIns="91440" tIns="45720" rIns="91440" bIns="45720" rtlCol="0" anchor="ctr">
            <a:normAutofit/>
          </a:bodyPr>
          <a:lstStyle/>
          <a:p>
            <a:r>
              <a:rPr lang="fr-FR" dirty="0"/>
              <a:t>Titre </a:t>
            </a:r>
          </a:p>
        </p:txBody>
      </p:sp>
      <p:sp>
        <p:nvSpPr>
          <p:cNvPr id="7" name="Rectangle 6"/>
          <p:cNvSpPr/>
          <p:nvPr userDrawn="1"/>
        </p:nvSpPr>
        <p:spPr>
          <a:xfrm>
            <a:off x="1" y="6506094"/>
            <a:ext cx="12190413" cy="3600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143"/>
            <a:endParaRPr lang="en-GB" sz="1800" dirty="0">
              <a:latin typeface="Candara" panose="020E0502030303020204" pitchFamily="34" charset="0"/>
              <a:cs typeface="Arial" panose="020B0604020202020204" pitchFamily="34" charset="0"/>
            </a:endParaRPr>
          </a:p>
        </p:txBody>
      </p:sp>
      <p:sp>
        <p:nvSpPr>
          <p:cNvPr id="8" name="Rectangle 7"/>
          <p:cNvSpPr/>
          <p:nvPr userDrawn="1"/>
        </p:nvSpPr>
        <p:spPr>
          <a:xfrm>
            <a:off x="2675652" y="6584494"/>
            <a:ext cx="683911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noProof="0" dirty="0" smtClean="0">
                <a:solidFill>
                  <a:schemeClr val="bg1"/>
                </a:solidFill>
                <a:latin typeface="Arial Narrow" panose="020B0606020202030204" pitchFamily="34" charset="0"/>
                <a:cs typeface="Arial" panose="020B0604020202020204" pitchFamily="34" charset="0"/>
              </a:rPr>
              <a:t>Base nationale des défibrillateurs automatisé</a:t>
            </a:r>
            <a:r>
              <a:rPr lang="fr-FR" sz="1400" b="1" baseline="0" noProof="0" dirty="0" smtClean="0">
                <a:solidFill>
                  <a:schemeClr val="bg1"/>
                </a:solidFill>
                <a:latin typeface="Arial Narrow" panose="020B0606020202030204" pitchFamily="34" charset="0"/>
                <a:cs typeface="Arial" panose="020B0604020202020204" pitchFamily="34" charset="0"/>
              </a:rPr>
              <a:t>s externes – </a:t>
            </a:r>
            <a:r>
              <a:rPr lang="fr-FR" sz="1400" b="1" baseline="0" noProof="0" dirty="0" err="1" smtClean="0">
                <a:solidFill>
                  <a:schemeClr val="bg1"/>
                </a:solidFill>
                <a:latin typeface="Arial Narrow" panose="020B0606020202030204" pitchFamily="34" charset="0"/>
                <a:cs typeface="Arial" panose="020B0604020202020204" pitchFamily="34" charset="0"/>
              </a:rPr>
              <a:t>Géo’DAE</a:t>
            </a:r>
            <a:endParaRPr lang="fr-FR" sz="1400" b="1" baseline="0" noProof="0" dirty="0" smtClean="0">
              <a:solidFill>
                <a:schemeClr val="bg1"/>
              </a:solidFill>
              <a:latin typeface="Arial Narrow" panose="020B0606020202030204" pitchFamily="34" charset="0"/>
              <a:cs typeface="Arial" panose="020B0604020202020204" pitchFamily="34" charset="0"/>
            </a:endParaRPr>
          </a:p>
        </p:txBody>
      </p:sp>
      <p:pic>
        <p:nvPicPr>
          <p:cNvPr id="9" name="Image 8"/>
          <p:cNvPicPr>
            <a:picLocks noChangeAspect="1"/>
          </p:cNvPicPr>
          <p:nvPr userDrawn="1"/>
        </p:nvPicPr>
        <p:blipFill>
          <a:blip r:embed="rId13"/>
          <a:stretch>
            <a:fillRect/>
          </a:stretch>
        </p:blipFill>
        <p:spPr>
          <a:xfrm>
            <a:off x="10538251" y="308836"/>
            <a:ext cx="1466741" cy="612142"/>
          </a:xfrm>
          <a:prstGeom prst="rect">
            <a:avLst/>
          </a:prstGeom>
        </p:spPr>
      </p:pic>
      <p:sp>
        <p:nvSpPr>
          <p:cNvPr id="10" name="Rectangle 9"/>
          <p:cNvSpPr>
            <a:spLocks noChangeArrowheads="1"/>
          </p:cNvSpPr>
          <p:nvPr userDrawn="1"/>
        </p:nvSpPr>
        <p:spPr bwMode="auto">
          <a:xfrm flipV="1">
            <a:off x="1161554" y="730639"/>
            <a:ext cx="9358782" cy="28807"/>
          </a:xfrm>
          <a:prstGeom prst="rect">
            <a:avLst/>
          </a:prstGeom>
          <a:solidFill>
            <a:srgbClr val="004192"/>
          </a:solidFill>
          <a:ln w="9525">
            <a:noFill/>
            <a:miter lim="800000"/>
            <a:headEnd/>
            <a:tailEnd/>
          </a:ln>
        </p:spPr>
        <p:txBody>
          <a:bodyPr wrap="none" anchor="ctr"/>
          <a:lstStyle/>
          <a:p>
            <a:pPr algn="ctr" eaLnBrk="0" hangingPunct="0">
              <a:defRPr/>
            </a:pPr>
            <a:r>
              <a:rPr lang="fr-FR" sz="2400" dirty="0">
                <a:latin typeface="Arial" panose="020B0604020202020204" pitchFamily="34" charset="0"/>
                <a:cs typeface="Arial" panose="020B0604020202020204" pitchFamily="34" charset="0"/>
              </a:rPr>
              <a:t> </a:t>
            </a:r>
          </a:p>
        </p:txBody>
      </p:sp>
      <p:sp>
        <p:nvSpPr>
          <p:cNvPr id="11" name="Titre 1"/>
          <p:cNvSpPr txBox="1">
            <a:spLocks/>
          </p:cNvSpPr>
          <p:nvPr userDrawn="1"/>
        </p:nvSpPr>
        <p:spPr>
          <a:xfrm>
            <a:off x="1197154" y="222623"/>
            <a:ext cx="7163067" cy="468108"/>
          </a:xfrm>
          <a:prstGeom prst="rect">
            <a:avLst/>
          </a:prstGeom>
        </p:spPr>
        <p:txBody>
          <a:bodyPr lIns="0" tIns="0" rIns="0" bIns="0" anchor="ctr">
            <a:normAutofit/>
          </a:bodyPr>
          <a:lstStyle>
            <a:defPPr>
              <a:defRPr lang="fr-FR"/>
            </a:defPPr>
            <a:lvl1pPr fontAlgn="auto">
              <a:lnSpc>
                <a:spcPct val="90000"/>
              </a:lnSpc>
              <a:spcAft>
                <a:spcPts val="0"/>
              </a:spcAft>
              <a:defRPr sz="2400" b="1">
                <a:latin typeface="Candara" panose="020E0502030303020204" pitchFamily="34" charset="0"/>
                <a:ea typeface="+mj-ea"/>
                <a:cs typeface="Arial" panose="020B0604020202020204" pitchFamily="34" charset="0"/>
              </a:defRPr>
            </a:lvl1pPr>
          </a:lstStyle>
          <a:p>
            <a:endParaRPr lang="fr-FR" sz="2400" dirty="0"/>
          </a:p>
        </p:txBody>
      </p:sp>
      <p:sp>
        <p:nvSpPr>
          <p:cNvPr id="6" name="Espace réservé du numéro de diapositive 5"/>
          <p:cNvSpPr>
            <a:spLocks noGrp="1"/>
          </p:cNvSpPr>
          <p:nvPr>
            <p:ph type="sldNum" sz="quarter" idx="4"/>
          </p:nvPr>
        </p:nvSpPr>
        <p:spPr bwMode="gray">
          <a:xfrm>
            <a:off x="9863667" y="6379477"/>
            <a:ext cx="1799766" cy="480111"/>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pic>
        <p:nvPicPr>
          <p:cNvPr id="14" name="Image 13">
            <a:extLst>
              <a:ext uri="{FF2B5EF4-FFF2-40B4-BE49-F238E27FC236}">
                <a16:creationId xmlns:a16="http://schemas.microsoft.com/office/drawing/2014/main" id="{433B51AF-3A50-3342-8D79-F2F92F599175}"/>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bwMode="gray">
          <a:xfrm>
            <a:off x="383949" y="68643"/>
            <a:ext cx="1262369" cy="797191"/>
          </a:xfrm>
          <a:prstGeom prst="rect">
            <a:avLst/>
          </a:prstGeom>
        </p:spPr>
      </p:pic>
    </p:spTree>
    <p:extLst>
      <p:ext uri="{BB962C8B-B14F-4D97-AF65-F5344CB8AC3E}">
        <p14:creationId xmlns:p14="http://schemas.microsoft.com/office/powerpoint/2010/main" val="316336457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4" r:id="rId9"/>
    <p:sldLayoutId id="2147483785" r:id="rId10"/>
    <p:sldLayoutId id="2147483786" r:id="rId11"/>
  </p:sldLayoutIdLst>
  <p:timing>
    <p:tnLst>
      <p:par>
        <p:cTn id="1" dur="indefinite" restart="never" nodeType="tmRoot"/>
      </p:par>
    </p:tnLst>
  </p:timing>
  <p:hf hdr="0" ftr="0" dt="0"/>
  <p:txStyles>
    <p:titleStyle>
      <a:lvl1pPr marL="19048" indent="0" algn="l" defTabSz="1219048"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2" indent="0" algn="l" defTabSz="1219048"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41" indent="-228571" algn="l" defTabSz="1219048"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11" indent="-228571" algn="l" defTabSz="1219048"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481" indent="-228571" algn="l" defTabSz="1219048"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45" indent="-228571" algn="l" defTabSz="1219048"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381"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05"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666" indent="0" algn="l" defTabSz="1219048" rtl="0" eaLnBrk="1" latinLnBrk="0" hangingPunct="1">
        <a:spcBef>
          <a:spcPct val="20000"/>
        </a:spcBef>
        <a:buFont typeface="Arial" pitchFamily="34" charset="0"/>
        <a:buNone/>
        <a:defRPr sz="2667" kern="1200">
          <a:solidFill>
            <a:schemeClr val="tx1"/>
          </a:solidFill>
          <a:latin typeface="+mn-lt"/>
          <a:ea typeface="+mn-ea"/>
          <a:cs typeface="+mn-cs"/>
        </a:defRPr>
      </a:lvl8pPr>
      <a:lvl9pPr marL="5180952" indent="-304762" algn="l" defTabSz="121904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48" rtl="0" eaLnBrk="1" latinLnBrk="0" hangingPunct="1">
        <a:defRPr sz="2400" kern="1200">
          <a:solidFill>
            <a:schemeClr val="tx1"/>
          </a:solidFill>
          <a:latin typeface="+mn-lt"/>
          <a:ea typeface="+mn-ea"/>
          <a:cs typeface="+mn-cs"/>
        </a:defRPr>
      </a:lvl1pPr>
      <a:lvl2pPr marL="609524" algn="l" defTabSz="1219048" rtl="0" eaLnBrk="1" latinLnBrk="0" hangingPunct="1">
        <a:defRPr sz="2400" kern="1200">
          <a:solidFill>
            <a:schemeClr val="tx1"/>
          </a:solidFill>
          <a:latin typeface="+mn-lt"/>
          <a:ea typeface="+mn-ea"/>
          <a:cs typeface="+mn-cs"/>
        </a:defRPr>
      </a:lvl2pPr>
      <a:lvl3pPr marL="1219048" algn="l" defTabSz="1219048" rtl="0" eaLnBrk="1" latinLnBrk="0" hangingPunct="1">
        <a:defRPr sz="2400" kern="1200">
          <a:solidFill>
            <a:schemeClr val="tx1"/>
          </a:solidFill>
          <a:latin typeface="+mn-lt"/>
          <a:ea typeface="+mn-ea"/>
          <a:cs typeface="+mn-cs"/>
        </a:defRPr>
      </a:lvl3pPr>
      <a:lvl4pPr marL="1828571" algn="l" defTabSz="1219048" rtl="0" eaLnBrk="1" latinLnBrk="0" hangingPunct="1">
        <a:defRPr sz="2400" kern="1200">
          <a:solidFill>
            <a:schemeClr val="tx1"/>
          </a:solidFill>
          <a:latin typeface="+mn-lt"/>
          <a:ea typeface="+mn-ea"/>
          <a:cs typeface="+mn-cs"/>
        </a:defRPr>
      </a:lvl4pPr>
      <a:lvl5pPr marL="2438095" algn="l" defTabSz="1219048" rtl="0" eaLnBrk="1" latinLnBrk="0" hangingPunct="1">
        <a:defRPr sz="2400" kern="1200">
          <a:solidFill>
            <a:schemeClr val="tx1"/>
          </a:solidFill>
          <a:latin typeface="+mn-lt"/>
          <a:ea typeface="+mn-ea"/>
          <a:cs typeface="+mn-cs"/>
        </a:defRPr>
      </a:lvl5pPr>
      <a:lvl6pPr marL="3047619" algn="l" defTabSz="1219048" rtl="0" eaLnBrk="1" latinLnBrk="0" hangingPunct="1">
        <a:defRPr sz="2400" kern="1200">
          <a:solidFill>
            <a:schemeClr val="tx1"/>
          </a:solidFill>
          <a:latin typeface="+mn-lt"/>
          <a:ea typeface="+mn-ea"/>
          <a:cs typeface="+mn-cs"/>
        </a:defRPr>
      </a:lvl6pPr>
      <a:lvl7pPr marL="3657143" algn="l" defTabSz="1219048" rtl="0" eaLnBrk="1" latinLnBrk="0" hangingPunct="1">
        <a:defRPr sz="2400" kern="1200">
          <a:solidFill>
            <a:schemeClr val="tx1"/>
          </a:solidFill>
          <a:latin typeface="+mn-lt"/>
          <a:ea typeface="+mn-ea"/>
          <a:cs typeface="+mn-cs"/>
        </a:defRPr>
      </a:lvl7pPr>
      <a:lvl8pPr marL="4266666" algn="l" defTabSz="1219048" rtl="0" eaLnBrk="1" latinLnBrk="0" hangingPunct="1">
        <a:defRPr sz="2400" kern="1200">
          <a:solidFill>
            <a:schemeClr val="tx1"/>
          </a:solidFill>
          <a:latin typeface="+mn-lt"/>
          <a:ea typeface="+mn-ea"/>
          <a:cs typeface="+mn-cs"/>
        </a:defRPr>
      </a:lvl8pPr>
      <a:lvl9pPr marL="4876190" algn="l" defTabSz="121904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guide id="3" orient="horz" pos="73">
          <p15:clr>
            <a:srgbClr val="F26B43"/>
          </p15:clr>
        </p15:guide>
        <p15:guide id="4" orient="horz" pos="300">
          <p15:clr>
            <a:srgbClr val="F26B43"/>
          </p15:clr>
        </p15:guide>
        <p15:guide id="5" orient="horz" pos="48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7.xml"/><Relationship Id="rId5" Type="http://schemas.openxmlformats.org/officeDocument/2006/relationships/tags" Target="../tags/tag10.xml"/><Relationship Id="rId4" Type="http://schemas.openxmlformats.org/officeDocument/2006/relationships/tags" Target="../tags/tag9.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5"/>
          <p:cNvSpPr txBox="1">
            <a:spLocks/>
          </p:cNvSpPr>
          <p:nvPr/>
        </p:nvSpPr>
        <p:spPr>
          <a:xfrm>
            <a:off x="435431" y="4040160"/>
            <a:ext cx="4563520" cy="1931042"/>
          </a:xfrm>
          <a:prstGeom prst="rect">
            <a:avLst/>
          </a:prstGeom>
        </p:spPr>
        <p:txBody>
          <a:bodyPr/>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a:r>
              <a:rPr lang="fr-FR" sz="2600" b="1" dirty="0" smtClean="0">
                <a:latin typeface="Arial" panose="020B0604020202020204" pitchFamily="34" charset="0"/>
                <a:cs typeface="Arial" panose="020B0604020202020204" pitchFamily="34" charset="0"/>
              </a:rPr>
              <a:t>Charte d’usage de la marque d’Etat</a:t>
            </a:r>
          </a:p>
          <a:p>
            <a:pPr algn="ctr"/>
            <a:r>
              <a:rPr lang="fr-FR" sz="2400" b="1" dirty="0" smtClean="0">
                <a:latin typeface="Arial" panose="020B0604020202020204" pitchFamily="34" charset="0"/>
                <a:cs typeface="Arial" panose="020B0604020202020204" pitchFamily="34" charset="0"/>
              </a:rPr>
              <a:t>- </a:t>
            </a:r>
          </a:p>
          <a:p>
            <a:pPr algn="ctr"/>
            <a:r>
              <a:rPr lang="fr-FR" sz="2400" b="1" dirty="0" smtClean="0">
                <a:latin typeface="Arial" panose="020B0604020202020204" pitchFamily="34" charset="0"/>
                <a:cs typeface="Arial" panose="020B0604020202020204" pitchFamily="34" charset="0"/>
              </a:rPr>
              <a:t>Organisateur d’évènement(s)  </a:t>
            </a:r>
          </a:p>
        </p:txBody>
      </p:sp>
      <p:pic>
        <p:nvPicPr>
          <p:cNvPr id="12" name="Imag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401666" y="3647789"/>
            <a:ext cx="4572000" cy="2694806"/>
          </a:xfrm>
          <a:prstGeom prst="rect">
            <a:avLst/>
          </a:prstGeom>
        </p:spPr>
      </p:pic>
      <p:sp>
        <p:nvSpPr>
          <p:cNvPr id="14" name="Titre 5"/>
          <p:cNvSpPr txBox="1">
            <a:spLocks/>
          </p:cNvSpPr>
          <p:nvPr/>
        </p:nvSpPr>
        <p:spPr>
          <a:xfrm>
            <a:off x="5855929" y="2560005"/>
            <a:ext cx="5387787" cy="566256"/>
          </a:xfrm>
          <a:prstGeom prst="rect">
            <a:avLst/>
          </a:prstGeom>
        </p:spPr>
        <p:txBody>
          <a:bodyPr lIns="47989" rIns="47989"/>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defTabSz="1625519"/>
            <a:r>
              <a:rPr lang="fr-FR" sz="3200" b="1" dirty="0">
                <a:solidFill>
                  <a:srgbClr val="000000"/>
                </a:solidFill>
                <a:latin typeface="Arial" panose="020B0604020202020204" pitchFamily="34" charset="0"/>
                <a:cs typeface="Arial" panose="020B0604020202020204" pitchFamily="34" charset="0"/>
              </a:rPr>
              <a:t>Déclarer, Localiser, Sauver</a:t>
            </a:r>
          </a:p>
        </p:txBody>
      </p:sp>
      <p:sp>
        <p:nvSpPr>
          <p:cNvPr id="15" name="Freeform 9"/>
          <p:cNvSpPr>
            <a:spLocks noChangeAspect="1"/>
          </p:cNvSpPr>
          <p:nvPr/>
        </p:nvSpPr>
        <p:spPr bwMode="gray">
          <a:xfrm>
            <a:off x="5941444" y="3044957"/>
            <a:ext cx="5213737" cy="162608"/>
          </a:xfrm>
          <a:custGeom>
            <a:avLst/>
            <a:gdLst>
              <a:gd name="T0" fmla="*/ 20 w 1807"/>
              <a:gd name="T1" fmla="*/ 115 h 116"/>
              <a:gd name="T2" fmla="*/ 20 w 1807"/>
              <a:gd name="T3" fmla="*/ 115 h 116"/>
              <a:gd name="T4" fmla="*/ 1398 w 1807"/>
              <a:gd name="T5" fmla="*/ 50 h 116"/>
              <a:gd name="T6" fmla="*/ 1786 w 1807"/>
              <a:gd name="T7" fmla="*/ 32 h 116"/>
              <a:gd name="T8" fmla="*/ 1786 w 1807"/>
              <a:gd name="T9" fmla="*/ 1 h 116"/>
              <a:gd name="T10" fmla="*/ 409 w 1807"/>
              <a:gd name="T11" fmla="*/ 65 h 116"/>
              <a:gd name="T12" fmla="*/ 21 w 1807"/>
              <a:gd name="T13" fmla="*/ 83 h 116"/>
              <a:gd name="T14" fmla="*/ 20 w 1807"/>
              <a:gd name="T15" fmla="*/ 115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7" h="116">
                <a:moveTo>
                  <a:pt x="20" y="115"/>
                </a:moveTo>
                <a:lnTo>
                  <a:pt x="20" y="115"/>
                </a:lnTo>
                <a:cubicBezTo>
                  <a:pt x="479" y="93"/>
                  <a:pt x="938" y="72"/>
                  <a:pt x="1398" y="50"/>
                </a:cubicBezTo>
                <a:cubicBezTo>
                  <a:pt x="1527" y="44"/>
                  <a:pt x="1656" y="38"/>
                  <a:pt x="1786" y="32"/>
                </a:cubicBezTo>
                <a:cubicBezTo>
                  <a:pt x="1806" y="31"/>
                  <a:pt x="1807" y="0"/>
                  <a:pt x="1786" y="1"/>
                </a:cubicBezTo>
                <a:cubicBezTo>
                  <a:pt x="1327" y="22"/>
                  <a:pt x="868" y="44"/>
                  <a:pt x="409" y="65"/>
                </a:cubicBezTo>
                <a:cubicBezTo>
                  <a:pt x="279" y="71"/>
                  <a:pt x="150" y="77"/>
                  <a:pt x="21" y="83"/>
                </a:cubicBezTo>
                <a:cubicBezTo>
                  <a:pt x="0" y="84"/>
                  <a:pt x="0" y="116"/>
                  <a:pt x="20" y="115"/>
                </a:cubicBezTo>
                <a:close/>
              </a:path>
            </a:pathLst>
          </a:custGeom>
          <a:solidFill>
            <a:srgbClr val="1F497D"/>
          </a:solidFill>
          <a:ln w="0">
            <a:noFill/>
            <a:prstDash val="solid"/>
            <a:round/>
            <a:headEnd/>
            <a:tailEnd/>
          </a:ln>
        </p:spPr>
        <p:txBody>
          <a:bodyPr vert="horz" wrap="square" lIns="121892" tIns="60945" rIns="121892" bIns="60945" numCol="1" anchor="t" anchorCtr="0" compatLnSpc="1">
            <a:prstTxWarp prst="textNoShape">
              <a:avLst/>
            </a:prstTxWarp>
          </a:bodyPr>
          <a:lstStyle/>
          <a:p>
            <a:pPr defTabSz="1219170"/>
            <a:endParaRPr lang="fr-FR" sz="2400" dirty="0">
              <a:solidFill>
                <a:srgbClr val="000000"/>
              </a:solidFill>
              <a:latin typeface="Arial"/>
            </a:endParaRPr>
          </a:p>
        </p:txBody>
      </p:sp>
      <p:pic>
        <p:nvPicPr>
          <p:cNvPr id="16" name="Image 15"/>
          <p:cNvPicPr>
            <a:picLocks noChangeAspect="1"/>
          </p:cNvPicPr>
          <p:nvPr/>
        </p:nvPicPr>
        <p:blipFill>
          <a:blip r:embed="rId3"/>
          <a:stretch>
            <a:fillRect/>
          </a:stretch>
        </p:blipFill>
        <p:spPr>
          <a:xfrm>
            <a:off x="6401666" y="753445"/>
            <a:ext cx="3907648" cy="1630260"/>
          </a:xfrm>
          <a:prstGeom prst="rect">
            <a:avLst/>
          </a:prstGeom>
        </p:spPr>
      </p:pic>
      <p:pic>
        <p:nvPicPr>
          <p:cNvPr id="8" name="Image 7">
            <a:extLst>
              <a:ext uri="{FF2B5EF4-FFF2-40B4-BE49-F238E27FC236}">
                <a16:creationId xmlns:a16="http://schemas.microsoft.com/office/drawing/2014/main" id="{007764BE-02C7-D347-925A-71726A94B06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357393" y="458250"/>
            <a:ext cx="4961376" cy="3132000"/>
          </a:xfrm>
          <a:prstGeom prst="rect">
            <a:avLst/>
          </a:prstGeom>
        </p:spPr>
      </p:pic>
    </p:spTree>
    <p:extLst>
      <p:ext uri="{BB962C8B-B14F-4D97-AF65-F5344CB8AC3E}">
        <p14:creationId xmlns:p14="http://schemas.microsoft.com/office/powerpoint/2010/main" val="36019234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numéro de diapositive 1"/>
          <p:cNvSpPr>
            <a:spLocks noGrp="1"/>
          </p:cNvSpPr>
          <p:nvPr>
            <p:ph type="sldNum" sz="quarter" idx="12"/>
          </p:nvPr>
        </p:nvSpPr>
        <p:spPr>
          <a:xfrm>
            <a:off x="9863667" y="6509982"/>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2</a:t>
            </a:fld>
            <a:endParaRPr lang="fr-FR" sz="1050" dirty="0">
              <a:solidFill>
                <a:srgbClr val="FFFFFF"/>
              </a:solidFill>
              <a:latin typeface="Arial"/>
              <a:ea typeface="+mn-ea"/>
              <a:cs typeface="+mn-cs"/>
            </a:endParaRPr>
          </a:p>
        </p:txBody>
      </p:sp>
      <p:sp>
        <p:nvSpPr>
          <p:cNvPr id="21" name="Rechteck 18"/>
          <p:cNvSpPr/>
          <p:nvPr>
            <p:custDataLst>
              <p:tags r:id="rId1"/>
            </p:custDataLst>
          </p:nvPr>
        </p:nvSpPr>
        <p:spPr bwMode="gray">
          <a:xfrm>
            <a:off x="514350" y="1835065"/>
            <a:ext cx="11449050" cy="1548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endParaRPr lang="fr-FR" sz="1600" dirty="0">
              <a:solidFill>
                <a:schemeClr val="tx1"/>
              </a:solidFill>
              <a:latin typeface="Arial" pitchFamily="34" charset="0"/>
            </a:endParaRPr>
          </a:p>
        </p:txBody>
      </p:sp>
      <p:sp>
        <p:nvSpPr>
          <p:cNvPr id="13" name="Rectangle avec coins arrondis en diagonale 12">
            <a:extLst>
              <a:ext uri="{FF2B5EF4-FFF2-40B4-BE49-F238E27FC236}">
                <a16:creationId xmlns:a16="http://schemas.microsoft.com/office/drawing/2014/main" id="{E88DB530-21C2-EC48-AB99-4DFA630FA8C9}"/>
              </a:ext>
            </a:extLst>
          </p:cNvPr>
          <p:cNvSpPr/>
          <p:nvPr/>
        </p:nvSpPr>
        <p:spPr bwMode="gray">
          <a:xfrm>
            <a:off x="1172395" y="1276821"/>
            <a:ext cx="5760000" cy="540000"/>
          </a:xfrm>
          <a:prstGeom prst="round2DiagRect">
            <a:avLst/>
          </a:prstGeom>
          <a:solidFill>
            <a:srgbClr val="1F497D"/>
          </a:solidFill>
          <a:ln w="38100" algn="ctr">
            <a:noFill/>
            <a:miter lim="800000"/>
            <a:headEnd/>
            <a:tailEnd/>
          </a:ln>
          <a:effectLst/>
        </p:spPr>
        <p:txBody>
          <a:bodyPr wrap="none" lIns="0" tIns="0" rIns="0" bIns="36000" rtlCol="0" anchor="ctr"/>
          <a:lstStyle/>
          <a:p>
            <a:pPr marL="355600">
              <a:tabLst>
                <a:tab pos="177800" algn="l"/>
              </a:tabLst>
            </a:pPr>
            <a:r>
              <a:rPr lang="fr-FR" sz="1800" b="1" dirty="0" smtClean="0">
                <a:solidFill>
                  <a:schemeClr val="bg1"/>
                </a:solidFill>
                <a:cs typeface="Arial" panose="020B0604020202020204" pitchFamily="34" charset="0"/>
              </a:rPr>
              <a:t>Définition</a:t>
            </a:r>
            <a:endParaRPr lang="fr-FR" sz="1800" b="1" dirty="0">
              <a:solidFill>
                <a:schemeClr val="bg1"/>
              </a:solidFill>
              <a:cs typeface="Arial" panose="020B0604020202020204" pitchFamily="34" charset="0"/>
            </a:endParaRPr>
          </a:p>
        </p:txBody>
      </p:sp>
      <p:grpSp>
        <p:nvGrpSpPr>
          <p:cNvPr id="14" name="Groupe 13"/>
          <p:cNvGrpSpPr/>
          <p:nvPr/>
        </p:nvGrpSpPr>
        <p:grpSpPr>
          <a:xfrm>
            <a:off x="301496" y="1073598"/>
            <a:ext cx="972002" cy="972000"/>
            <a:chOff x="492568" y="1073598"/>
            <a:chExt cx="972002" cy="972000"/>
          </a:xfrm>
        </p:grpSpPr>
        <p:grpSp>
          <p:nvGrpSpPr>
            <p:cNvPr id="15" name="Gruppieren 27">
              <a:extLst>
                <a:ext uri="{FF2B5EF4-FFF2-40B4-BE49-F238E27FC236}">
                  <a16:creationId xmlns:a16="http://schemas.microsoft.com/office/drawing/2014/main" id="{A86C02A6-7A47-0643-9605-75F8102EDFBA}"/>
                </a:ext>
              </a:extLst>
            </p:cNvPr>
            <p:cNvGrpSpPr>
              <a:grpSpLocks noChangeAspect="1"/>
            </p:cNvGrpSpPr>
            <p:nvPr/>
          </p:nvGrpSpPr>
          <p:grpSpPr>
            <a:xfrm>
              <a:off x="492568" y="1073598"/>
              <a:ext cx="972002" cy="972000"/>
              <a:chOff x="7502618" y="1206411"/>
              <a:chExt cx="650014" cy="650013"/>
            </a:xfrm>
            <a:solidFill>
              <a:srgbClr val="E97B7B"/>
            </a:solidFill>
          </p:grpSpPr>
          <p:sp>
            <p:nvSpPr>
              <p:cNvPr id="19" name="Ellipse 18">
                <a:extLst>
                  <a:ext uri="{FF2B5EF4-FFF2-40B4-BE49-F238E27FC236}">
                    <a16:creationId xmlns:a16="http://schemas.microsoft.com/office/drawing/2014/main" id="{3F79BEB0-6F7D-FA4B-80AB-E09E16CD7EF4}"/>
                  </a:ext>
                </a:extLst>
              </p:cNvPr>
              <p:cNvSpPr/>
              <p:nvPr/>
            </p:nvSpPr>
            <p:spPr bwMode="gray">
              <a:xfrm>
                <a:off x="7502618" y="1206412"/>
                <a:ext cx="487510" cy="487510"/>
              </a:xfrm>
              <a:prstGeom prst="ellipse">
                <a:avLst/>
              </a:prstGeom>
              <a:grpFill/>
              <a:ln w="15240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en-US" sz="2000" b="1" i="0" u="none" strike="noStrike" kern="0" cap="none" spc="0" normalizeH="0" baseline="0" noProof="0" dirty="0" smtClean="0">
                  <a:ln>
                    <a:noFill/>
                  </a:ln>
                  <a:solidFill>
                    <a:srgbClr val="000000"/>
                  </a:solidFill>
                  <a:effectLst/>
                  <a:uLnTx/>
                  <a:uFillTx/>
                  <a:cs typeface="Arial" pitchFamily="34" charset="0"/>
                </a:endParaRPr>
              </a:p>
            </p:txBody>
          </p:sp>
          <p:sp>
            <p:nvSpPr>
              <p:cNvPr id="20" name="Ellipse 19">
                <a:extLst>
                  <a:ext uri="{FF2B5EF4-FFF2-40B4-BE49-F238E27FC236}">
                    <a16:creationId xmlns:a16="http://schemas.microsoft.com/office/drawing/2014/main" id="{D910C680-A94C-6A4A-A1C0-68776357678E}"/>
                  </a:ext>
                </a:extLst>
              </p:cNvPr>
              <p:cNvSpPr>
                <a:spLocks noChangeAspect="1"/>
              </p:cNvSpPr>
              <p:nvPr/>
            </p:nvSpPr>
            <p:spPr bwMode="gray">
              <a:xfrm>
                <a:off x="7502619" y="1206411"/>
                <a:ext cx="650013" cy="650013"/>
              </a:xfrm>
              <a:prstGeom prst="ellipse">
                <a:avLst/>
              </a:prstGeom>
              <a:solidFill>
                <a:srgbClr val="1F497D"/>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grpSp>
          <p:nvGrpSpPr>
            <p:cNvPr id="16" name="Group 6238"/>
            <p:cNvGrpSpPr/>
            <p:nvPr/>
          </p:nvGrpSpPr>
          <p:grpSpPr>
            <a:xfrm>
              <a:off x="634467" y="1264945"/>
              <a:ext cx="678857" cy="678857"/>
              <a:chOff x="8194520" y="-424295"/>
              <a:chExt cx="787401" cy="741363"/>
            </a:xfrm>
            <a:solidFill>
              <a:schemeClr val="bg1"/>
            </a:solidFill>
          </p:grpSpPr>
          <p:sp>
            <p:nvSpPr>
              <p:cNvPr id="17" name="Freeform 10"/>
              <p:cNvSpPr>
                <a:spLocks/>
              </p:cNvSpPr>
              <p:nvPr/>
            </p:nvSpPr>
            <p:spPr bwMode="auto">
              <a:xfrm>
                <a:off x="8194520" y="-424295"/>
                <a:ext cx="777875" cy="741363"/>
              </a:xfrm>
              <a:custGeom>
                <a:avLst/>
                <a:gdLst>
                  <a:gd name="T0" fmla="*/ 183 w 367"/>
                  <a:gd name="T1" fmla="*/ 300 h 350"/>
                  <a:gd name="T2" fmla="*/ 40 w 367"/>
                  <a:gd name="T3" fmla="*/ 120 h 350"/>
                  <a:gd name="T4" fmla="*/ 40 w 367"/>
                  <a:gd name="T5" fmla="*/ 102 h 350"/>
                  <a:gd name="T6" fmla="*/ 87 w 367"/>
                  <a:gd name="T7" fmla="*/ 41 h 350"/>
                  <a:gd name="T8" fmla="*/ 99 w 367"/>
                  <a:gd name="T9" fmla="*/ 40 h 350"/>
                  <a:gd name="T10" fmla="*/ 153 w 367"/>
                  <a:gd name="T11" fmla="*/ 71 h 350"/>
                  <a:gd name="T12" fmla="*/ 183 w 367"/>
                  <a:gd name="T13" fmla="*/ 108 h 350"/>
                  <a:gd name="T14" fmla="*/ 214 w 367"/>
                  <a:gd name="T15" fmla="*/ 71 h 350"/>
                  <a:gd name="T16" fmla="*/ 268 w 367"/>
                  <a:gd name="T17" fmla="*/ 40 h 350"/>
                  <a:gd name="T18" fmla="*/ 280 w 367"/>
                  <a:gd name="T19" fmla="*/ 41 h 350"/>
                  <a:gd name="T20" fmla="*/ 327 w 367"/>
                  <a:gd name="T21" fmla="*/ 102 h 350"/>
                  <a:gd name="T22" fmla="*/ 327 w 367"/>
                  <a:gd name="T23" fmla="*/ 120 h 350"/>
                  <a:gd name="T24" fmla="*/ 327 w 367"/>
                  <a:gd name="T25" fmla="*/ 121 h 350"/>
                  <a:gd name="T26" fmla="*/ 329 w 367"/>
                  <a:gd name="T27" fmla="*/ 162 h 350"/>
                  <a:gd name="T28" fmla="*/ 358 w 367"/>
                  <a:gd name="T29" fmla="*/ 162 h 350"/>
                  <a:gd name="T30" fmla="*/ 367 w 367"/>
                  <a:gd name="T31" fmla="*/ 121 h 350"/>
                  <a:gd name="T32" fmla="*/ 367 w 367"/>
                  <a:gd name="T33" fmla="*/ 100 h 350"/>
                  <a:gd name="T34" fmla="*/ 284 w 367"/>
                  <a:gd name="T35" fmla="*/ 1 h 350"/>
                  <a:gd name="T36" fmla="*/ 268 w 367"/>
                  <a:gd name="T37" fmla="*/ 0 h 350"/>
                  <a:gd name="T38" fmla="*/ 183 w 367"/>
                  <a:gd name="T39" fmla="*/ 45 h 350"/>
                  <a:gd name="T40" fmla="*/ 99 w 367"/>
                  <a:gd name="T41" fmla="*/ 0 h 350"/>
                  <a:gd name="T42" fmla="*/ 83 w 367"/>
                  <a:gd name="T43" fmla="*/ 1 h 350"/>
                  <a:gd name="T44" fmla="*/ 0 w 367"/>
                  <a:gd name="T45" fmla="*/ 100 h 350"/>
                  <a:gd name="T46" fmla="*/ 0 w 367"/>
                  <a:gd name="T47" fmla="*/ 121 h 350"/>
                  <a:gd name="T48" fmla="*/ 183 w 367"/>
                  <a:gd name="T49" fmla="*/ 350 h 350"/>
                  <a:gd name="T50" fmla="*/ 226 w 367"/>
                  <a:gd name="T51" fmla="*/ 318 h 350"/>
                  <a:gd name="T52" fmla="*/ 226 w 367"/>
                  <a:gd name="T53" fmla="*/ 291 h 350"/>
                  <a:gd name="T54" fmla="*/ 195 w 367"/>
                  <a:gd name="T55" fmla="*/ 291 h 350"/>
                  <a:gd name="T56" fmla="*/ 183 w 367"/>
                  <a:gd name="T57" fmla="*/ 30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7" h="350">
                    <a:moveTo>
                      <a:pt x="183" y="300"/>
                    </a:moveTo>
                    <a:cubicBezTo>
                      <a:pt x="93" y="233"/>
                      <a:pt x="45" y="172"/>
                      <a:pt x="40" y="120"/>
                    </a:cubicBezTo>
                    <a:cubicBezTo>
                      <a:pt x="40" y="102"/>
                      <a:pt x="40" y="102"/>
                      <a:pt x="40" y="102"/>
                    </a:cubicBezTo>
                    <a:cubicBezTo>
                      <a:pt x="44" y="60"/>
                      <a:pt x="70" y="43"/>
                      <a:pt x="87" y="41"/>
                    </a:cubicBezTo>
                    <a:cubicBezTo>
                      <a:pt x="91" y="40"/>
                      <a:pt x="95" y="40"/>
                      <a:pt x="99" y="40"/>
                    </a:cubicBezTo>
                    <a:cubicBezTo>
                      <a:pt x="123" y="40"/>
                      <a:pt x="133" y="48"/>
                      <a:pt x="153" y="71"/>
                    </a:cubicBezTo>
                    <a:cubicBezTo>
                      <a:pt x="183" y="108"/>
                      <a:pt x="183" y="108"/>
                      <a:pt x="183" y="108"/>
                    </a:cubicBezTo>
                    <a:cubicBezTo>
                      <a:pt x="214" y="71"/>
                      <a:pt x="214" y="71"/>
                      <a:pt x="214" y="71"/>
                    </a:cubicBezTo>
                    <a:cubicBezTo>
                      <a:pt x="234" y="48"/>
                      <a:pt x="244" y="40"/>
                      <a:pt x="268" y="40"/>
                    </a:cubicBezTo>
                    <a:cubicBezTo>
                      <a:pt x="272" y="40"/>
                      <a:pt x="276" y="40"/>
                      <a:pt x="280" y="41"/>
                    </a:cubicBezTo>
                    <a:cubicBezTo>
                      <a:pt x="297" y="43"/>
                      <a:pt x="323" y="60"/>
                      <a:pt x="327" y="102"/>
                    </a:cubicBezTo>
                    <a:cubicBezTo>
                      <a:pt x="327" y="120"/>
                      <a:pt x="327" y="120"/>
                      <a:pt x="327" y="120"/>
                    </a:cubicBezTo>
                    <a:cubicBezTo>
                      <a:pt x="327" y="121"/>
                      <a:pt x="327" y="121"/>
                      <a:pt x="327" y="121"/>
                    </a:cubicBezTo>
                    <a:cubicBezTo>
                      <a:pt x="329" y="162"/>
                      <a:pt x="329" y="162"/>
                      <a:pt x="329" y="162"/>
                    </a:cubicBezTo>
                    <a:cubicBezTo>
                      <a:pt x="358" y="162"/>
                      <a:pt x="358" y="162"/>
                      <a:pt x="358" y="162"/>
                    </a:cubicBezTo>
                    <a:cubicBezTo>
                      <a:pt x="363" y="148"/>
                      <a:pt x="366" y="134"/>
                      <a:pt x="367" y="121"/>
                    </a:cubicBezTo>
                    <a:cubicBezTo>
                      <a:pt x="367" y="100"/>
                      <a:pt x="367" y="100"/>
                      <a:pt x="367" y="100"/>
                    </a:cubicBezTo>
                    <a:cubicBezTo>
                      <a:pt x="362" y="37"/>
                      <a:pt x="320" y="4"/>
                      <a:pt x="284" y="1"/>
                    </a:cubicBezTo>
                    <a:cubicBezTo>
                      <a:pt x="278" y="0"/>
                      <a:pt x="273" y="0"/>
                      <a:pt x="268" y="0"/>
                    </a:cubicBezTo>
                    <a:cubicBezTo>
                      <a:pt x="226" y="0"/>
                      <a:pt x="206" y="18"/>
                      <a:pt x="183" y="45"/>
                    </a:cubicBezTo>
                    <a:cubicBezTo>
                      <a:pt x="161" y="18"/>
                      <a:pt x="141" y="0"/>
                      <a:pt x="99" y="0"/>
                    </a:cubicBezTo>
                    <a:cubicBezTo>
                      <a:pt x="94" y="0"/>
                      <a:pt x="89" y="0"/>
                      <a:pt x="83" y="1"/>
                    </a:cubicBezTo>
                    <a:cubicBezTo>
                      <a:pt x="47" y="4"/>
                      <a:pt x="5" y="37"/>
                      <a:pt x="0" y="100"/>
                    </a:cubicBezTo>
                    <a:cubicBezTo>
                      <a:pt x="0" y="121"/>
                      <a:pt x="0" y="121"/>
                      <a:pt x="0" y="121"/>
                    </a:cubicBezTo>
                    <a:cubicBezTo>
                      <a:pt x="5" y="182"/>
                      <a:pt x="50" y="256"/>
                      <a:pt x="183" y="350"/>
                    </a:cubicBezTo>
                    <a:cubicBezTo>
                      <a:pt x="199" y="339"/>
                      <a:pt x="213" y="329"/>
                      <a:pt x="226" y="318"/>
                    </a:cubicBezTo>
                    <a:cubicBezTo>
                      <a:pt x="226" y="291"/>
                      <a:pt x="226" y="291"/>
                      <a:pt x="226" y="291"/>
                    </a:cubicBezTo>
                    <a:cubicBezTo>
                      <a:pt x="195" y="291"/>
                      <a:pt x="195" y="291"/>
                      <a:pt x="195" y="291"/>
                    </a:cubicBezTo>
                    <a:cubicBezTo>
                      <a:pt x="191" y="294"/>
                      <a:pt x="188" y="297"/>
                      <a:pt x="183" y="3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defTabSz="914309"/>
                <a:endParaRPr lang="en-GB">
                  <a:solidFill>
                    <a:srgbClr val="000000"/>
                  </a:solidFill>
                  <a:latin typeface="Arial"/>
                </a:endParaRPr>
              </a:p>
            </p:txBody>
          </p:sp>
          <p:sp>
            <p:nvSpPr>
              <p:cNvPr id="18" name="Freeform 11"/>
              <p:cNvSpPr>
                <a:spLocks/>
              </p:cNvSpPr>
              <p:nvPr/>
            </p:nvSpPr>
            <p:spPr bwMode="auto">
              <a:xfrm>
                <a:off x="8596158" y="-113145"/>
                <a:ext cx="385763" cy="385763"/>
              </a:xfrm>
              <a:custGeom>
                <a:avLst/>
                <a:gdLst>
                  <a:gd name="T0" fmla="*/ 158 w 243"/>
                  <a:gd name="T1" fmla="*/ 84 h 243"/>
                  <a:gd name="T2" fmla="*/ 158 w 243"/>
                  <a:gd name="T3" fmla="*/ 0 h 243"/>
                  <a:gd name="T4" fmla="*/ 86 w 243"/>
                  <a:gd name="T5" fmla="*/ 0 h 243"/>
                  <a:gd name="T6" fmla="*/ 86 w 243"/>
                  <a:gd name="T7" fmla="*/ 84 h 243"/>
                  <a:gd name="T8" fmla="*/ 0 w 243"/>
                  <a:gd name="T9" fmla="*/ 84 h 243"/>
                  <a:gd name="T10" fmla="*/ 0 w 243"/>
                  <a:gd name="T11" fmla="*/ 157 h 243"/>
                  <a:gd name="T12" fmla="*/ 86 w 243"/>
                  <a:gd name="T13" fmla="*/ 157 h 243"/>
                  <a:gd name="T14" fmla="*/ 86 w 243"/>
                  <a:gd name="T15" fmla="*/ 243 h 243"/>
                  <a:gd name="T16" fmla="*/ 158 w 243"/>
                  <a:gd name="T17" fmla="*/ 243 h 243"/>
                  <a:gd name="T18" fmla="*/ 158 w 243"/>
                  <a:gd name="T19" fmla="*/ 157 h 243"/>
                  <a:gd name="T20" fmla="*/ 243 w 243"/>
                  <a:gd name="T21" fmla="*/ 157 h 243"/>
                  <a:gd name="T22" fmla="*/ 243 w 243"/>
                  <a:gd name="T23" fmla="*/ 84 h 243"/>
                  <a:gd name="T24" fmla="*/ 158 w 243"/>
                  <a:gd name="T25" fmla="*/ 8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243">
                    <a:moveTo>
                      <a:pt x="158" y="84"/>
                    </a:moveTo>
                    <a:lnTo>
                      <a:pt x="158" y="0"/>
                    </a:lnTo>
                    <a:lnTo>
                      <a:pt x="86" y="0"/>
                    </a:lnTo>
                    <a:lnTo>
                      <a:pt x="86" y="84"/>
                    </a:lnTo>
                    <a:lnTo>
                      <a:pt x="0" y="84"/>
                    </a:lnTo>
                    <a:lnTo>
                      <a:pt x="0" y="157"/>
                    </a:lnTo>
                    <a:lnTo>
                      <a:pt x="86" y="157"/>
                    </a:lnTo>
                    <a:lnTo>
                      <a:pt x="86" y="243"/>
                    </a:lnTo>
                    <a:lnTo>
                      <a:pt x="158" y="243"/>
                    </a:lnTo>
                    <a:lnTo>
                      <a:pt x="158" y="157"/>
                    </a:lnTo>
                    <a:lnTo>
                      <a:pt x="243" y="157"/>
                    </a:lnTo>
                    <a:lnTo>
                      <a:pt x="243" y="84"/>
                    </a:lnTo>
                    <a:lnTo>
                      <a:pt x="158"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defTabSz="914309"/>
                <a:endParaRPr lang="en-GB">
                  <a:solidFill>
                    <a:srgbClr val="000000"/>
                  </a:solidFill>
                  <a:latin typeface="Arial"/>
                </a:endParaRPr>
              </a:p>
            </p:txBody>
          </p:sp>
        </p:grpSp>
      </p:grpSp>
      <p:sp>
        <p:nvSpPr>
          <p:cNvPr id="22" name="Rechteck 18"/>
          <p:cNvSpPr/>
          <p:nvPr>
            <p:custDataLst>
              <p:tags r:id="rId2"/>
            </p:custDataLst>
          </p:nvPr>
        </p:nvSpPr>
        <p:spPr bwMode="gray">
          <a:xfrm>
            <a:off x="514350" y="4232516"/>
            <a:ext cx="11449050" cy="1908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285750" lvl="0" indent="-285750" algn="just">
              <a:buFont typeface="Arial" panose="020B0604020202020204" pitchFamily="34" charset="0"/>
              <a:buChar char="•"/>
              <a:defRPr/>
            </a:pPr>
            <a:endParaRPr lang="fr-FR" sz="1600" b="1" dirty="0">
              <a:solidFill>
                <a:srgbClr val="000000"/>
              </a:solidFill>
              <a:latin typeface="Arial" panose="020B0604020202020204" pitchFamily="34" charset="0"/>
              <a:cs typeface="Arial" panose="020B0604020202020204" pitchFamily="34" charset="0"/>
            </a:endParaRPr>
          </a:p>
        </p:txBody>
      </p:sp>
      <p:sp>
        <p:nvSpPr>
          <p:cNvPr id="24" name="Rectangle avec coins arrondis en diagonale 23">
            <a:extLst>
              <a:ext uri="{FF2B5EF4-FFF2-40B4-BE49-F238E27FC236}">
                <a16:creationId xmlns:a16="http://schemas.microsoft.com/office/drawing/2014/main" id="{E88DB530-21C2-EC48-AB99-4DFA630FA8C9}"/>
              </a:ext>
            </a:extLst>
          </p:cNvPr>
          <p:cNvSpPr/>
          <p:nvPr/>
        </p:nvSpPr>
        <p:spPr bwMode="gray">
          <a:xfrm>
            <a:off x="1178932" y="3769789"/>
            <a:ext cx="5760000" cy="540000"/>
          </a:xfrm>
          <a:prstGeom prst="round2DiagRect">
            <a:avLst/>
          </a:prstGeom>
          <a:solidFill>
            <a:srgbClr val="C00000"/>
          </a:solidFill>
          <a:ln w="38100" algn="ctr">
            <a:noFill/>
            <a:miter lim="800000"/>
            <a:headEnd/>
            <a:tailEnd/>
          </a:ln>
          <a:effectLst/>
        </p:spPr>
        <p:txBody>
          <a:bodyPr wrap="none" lIns="0" tIns="0" rIns="0" bIns="36000" rtlCol="0" anchor="ctr"/>
          <a:lstStyle/>
          <a:p>
            <a:pPr marL="355600">
              <a:tabLst>
                <a:tab pos="177800" algn="l"/>
              </a:tabLst>
            </a:pPr>
            <a:r>
              <a:rPr lang="fr-FR" sz="1800" b="1" dirty="0" smtClean="0">
                <a:solidFill>
                  <a:schemeClr val="bg1"/>
                </a:solidFill>
                <a:cs typeface="Arial" panose="020B0604020202020204" pitchFamily="34" charset="0"/>
              </a:rPr>
              <a:t>Objectifs</a:t>
            </a:r>
            <a:endParaRPr lang="fr-FR" sz="1800" b="1" dirty="0">
              <a:solidFill>
                <a:schemeClr val="bg1"/>
              </a:solidFill>
              <a:cs typeface="Arial" panose="020B0604020202020204" pitchFamily="34" charset="0"/>
            </a:endParaRPr>
          </a:p>
        </p:txBody>
      </p:sp>
      <p:grpSp>
        <p:nvGrpSpPr>
          <p:cNvPr id="26" name="Gruppieren 27">
            <a:extLst>
              <a:ext uri="{FF2B5EF4-FFF2-40B4-BE49-F238E27FC236}">
                <a16:creationId xmlns:a16="http://schemas.microsoft.com/office/drawing/2014/main" id="{A86C02A6-7A47-0643-9605-75F8102EDFBA}"/>
              </a:ext>
            </a:extLst>
          </p:cNvPr>
          <p:cNvGrpSpPr>
            <a:grpSpLocks noChangeAspect="1"/>
          </p:cNvGrpSpPr>
          <p:nvPr/>
        </p:nvGrpSpPr>
        <p:grpSpPr>
          <a:xfrm>
            <a:off x="308033" y="3511973"/>
            <a:ext cx="972002" cy="972000"/>
            <a:chOff x="7502618" y="1206411"/>
            <a:chExt cx="650014" cy="650013"/>
          </a:xfrm>
          <a:solidFill>
            <a:srgbClr val="C00000"/>
          </a:solidFill>
        </p:grpSpPr>
        <p:sp>
          <p:nvSpPr>
            <p:cNvPr id="30" name="Ellipse 29">
              <a:extLst>
                <a:ext uri="{FF2B5EF4-FFF2-40B4-BE49-F238E27FC236}">
                  <a16:creationId xmlns:a16="http://schemas.microsoft.com/office/drawing/2014/main" id="{3F79BEB0-6F7D-FA4B-80AB-E09E16CD7EF4}"/>
                </a:ext>
              </a:extLst>
            </p:cNvPr>
            <p:cNvSpPr/>
            <p:nvPr/>
          </p:nvSpPr>
          <p:spPr bwMode="gray">
            <a:xfrm>
              <a:off x="7502618" y="1206412"/>
              <a:ext cx="487510" cy="487510"/>
            </a:xfrm>
            <a:prstGeom prst="ellipse">
              <a:avLst/>
            </a:prstGeom>
            <a:grpFill/>
            <a:ln w="15240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en-US" sz="2000" b="1" i="0" u="none" strike="noStrike" kern="0" cap="none" spc="0" normalizeH="0" baseline="0" noProof="0" dirty="0" smtClean="0">
                <a:ln>
                  <a:noFill/>
                </a:ln>
                <a:solidFill>
                  <a:srgbClr val="000000"/>
                </a:solidFill>
                <a:effectLst/>
                <a:uLnTx/>
                <a:uFillTx/>
                <a:cs typeface="Arial" pitchFamily="34" charset="0"/>
              </a:endParaRPr>
            </a:p>
          </p:txBody>
        </p:sp>
        <p:sp>
          <p:nvSpPr>
            <p:cNvPr id="31" name="Ellipse 30">
              <a:extLst>
                <a:ext uri="{FF2B5EF4-FFF2-40B4-BE49-F238E27FC236}">
                  <a16:creationId xmlns:a16="http://schemas.microsoft.com/office/drawing/2014/main" id="{D910C680-A94C-6A4A-A1C0-68776357678E}"/>
                </a:ext>
              </a:extLst>
            </p:cNvPr>
            <p:cNvSpPr>
              <a:spLocks noChangeAspect="1"/>
            </p:cNvSpPr>
            <p:nvPr/>
          </p:nvSpPr>
          <p:spPr bwMode="gray">
            <a:xfrm>
              <a:off x="7502619" y="1206411"/>
              <a:ext cx="650013" cy="650013"/>
            </a:xfrm>
            <a:prstGeom prst="ellipse">
              <a:avLst/>
            </a:prstGeom>
            <a:grp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sp>
        <p:nvSpPr>
          <p:cNvPr id="11" name="Freeform 60">
            <a:extLst>
              <a:ext uri="{FF2B5EF4-FFF2-40B4-BE49-F238E27FC236}">
                <a16:creationId xmlns:a16="http://schemas.microsoft.com/office/drawing/2014/main" id="{9FBAE125-B7F4-3E46-BE5A-44777A3DB369}"/>
              </a:ext>
            </a:extLst>
          </p:cNvPr>
          <p:cNvSpPr>
            <a:spLocks noChangeAspect="1"/>
          </p:cNvSpPr>
          <p:nvPr/>
        </p:nvSpPr>
        <p:spPr>
          <a:xfrm>
            <a:off x="414553" y="3619172"/>
            <a:ext cx="764379" cy="758454"/>
          </a:xfrm>
          <a:custGeom>
            <a:avLst/>
            <a:gdLst>
              <a:gd name="connsiteX0" fmla="*/ 340988 w 345367"/>
              <a:gd name="connsiteY0" fmla="*/ 166981 h 342688"/>
              <a:gd name="connsiteX1" fmla="*/ 312753 w 345367"/>
              <a:gd name="connsiteY1" fmla="*/ 166981 h 342688"/>
              <a:gd name="connsiteX2" fmla="*/ 177103 w 345367"/>
              <a:gd name="connsiteY2" fmla="*/ 32378 h 342688"/>
              <a:gd name="connsiteX3" fmla="*/ 177103 w 345367"/>
              <a:gd name="connsiteY3" fmla="*/ 4362 h 342688"/>
              <a:gd name="connsiteX4" fmla="*/ 172702 w 345367"/>
              <a:gd name="connsiteY4" fmla="*/ 0 h 342688"/>
              <a:gd name="connsiteX5" fmla="*/ 168308 w 345367"/>
              <a:gd name="connsiteY5" fmla="*/ 4362 h 342688"/>
              <a:gd name="connsiteX6" fmla="*/ 168308 w 345367"/>
              <a:gd name="connsiteY6" fmla="*/ 32378 h 342688"/>
              <a:gd name="connsiteX7" fmla="*/ 32651 w 345367"/>
              <a:gd name="connsiteY7" fmla="*/ 166981 h 342688"/>
              <a:gd name="connsiteX8" fmla="*/ 4416 w 345367"/>
              <a:gd name="connsiteY8" fmla="*/ 166981 h 342688"/>
              <a:gd name="connsiteX9" fmla="*/ 0 w 345367"/>
              <a:gd name="connsiteY9" fmla="*/ 171326 h 342688"/>
              <a:gd name="connsiteX10" fmla="*/ 4380 w 345367"/>
              <a:gd name="connsiteY10" fmla="*/ 175707 h 342688"/>
              <a:gd name="connsiteX11" fmla="*/ 4416 w 345367"/>
              <a:gd name="connsiteY11" fmla="*/ 175707 h 342688"/>
              <a:gd name="connsiteX12" fmla="*/ 32651 w 345367"/>
              <a:gd name="connsiteY12" fmla="*/ 175707 h 342688"/>
              <a:gd name="connsiteX13" fmla="*/ 168308 w 345367"/>
              <a:gd name="connsiteY13" fmla="*/ 310307 h 342688"/>
              <a:gd name="connsiteX14" fmla="*/ 168308 w 345367"/>
              <a:gd name="connsiteY14" fmla="*/ 338327 h 342688"/>
              <a:gd name="connsiteX15" fmla="*/ 172702 w 345367"/>
              <a:gd name="connsiteY15" fmla="*/ 342689 h 342688"/>
              <a:gd name="connsiteX16" fmla="*/ 177103 w 345367"/>
              <a:gd name="connsiteY16" fmla="*/ 338327 h 342688"/>
              <a:gd name="connsiteX17" fmla="*/ 177103 w 345367"/>
              <a:gd name="connsiteY17" fmla="*/ 310307 h 342688"/>
              <a:gd name="connsiteX18" fmla="*/ 312753 w 345367"/>
              <a:gd name="connsiteY18" fmla="*/ 175708 h 342688"/>
              <a:gd name="connsiteX19" fmla="*/ 340988 w 345367"/>
              <a:gd name="connsiteY19" fmla="*/ 175708 h 342688"/>
              <a:gd name="connsiteX20" fmla="*/ 345367 w 345367"/>
              <a:gd name="connsiteY20" fmla="*/ 171327 h 342688"/>
              <a:gd name="connsiteX21" fmla="*/ 340988 w 345367"/>
              <a:gd name="connsiteY21" fmla="*/ 166981 h 342688"/>
              <a:gd name="connsiteX22" fmla="*/ 303964 w 345367"/>
              <a:gd name="connsiteY22" fmla="*/ 166981 h 342688"/>
              <a:gd name="connsiteX23" fmla="*/ 257320 w 345367"/>
              <a:gd name="connsiteY23" fmla="*/ 166981 h 342688"/>
              <a:gd name="connsiteX24" fmla="*/ 177103 w 345367"/>
              <a:gd name="connsiteY24" fmla="*/ 87388 h 342688"/>
              <a:gd name="connsiteX25" fmla="*/ 177103 w 345367"/>
              <a:gd name="connsiteY25" fmla="*/ 41104 h 342688"/>
              <a:gd name="connsiteX26" fmla="*/ 303964 w 345367"/>
              <a:gd name="connsiteY26" fmla="*/ 166981 h 342688"/>
              <a:gd name="connsiteX27" fmla="*/ 172702 w 345367"/>
              <a:gd name="connsiteY27" fmla="*/ 193641 h 342688"/>
              <a:gd name="connsiteX28" fmla="*/ 150231 w 345367"/>
              <a:gd name="connsiteY28" fmla="*/ 171344 h 342688"/>
              <a:gd name="connsiteX29" fmla="*/ 172702 w 345367"/>
              <a:gd name="connsiteY29" fmla="*/ 149048 h 342688"/>
              <a:gd name="connsiteX30" fmla="*/ 195172 w 345367"/>
              <a:gd name="connsiteY30" fmla="*/ 171344 h 342688"/>
              <a:gd name="connsiteX31" fmla="*/ 172702 w 345367"/>
              <a:gd name="connsiteY31" fmla="*/ 193641 h 342688"/>
              <a:gd name="connsiteX32" fmla="*/ 168453 w 345367"/>
              <a:gd name="connsiteY32" fmla="*/ 140746 h 342688"/>
              <a:gd name="connsiteX33" fmla="*/ 141864 w 345367"/>
              <a:gd name="connsiteY33" fmla="*/ 167132 h 342688"/>
              <a:gd name="connsiteX34" fmla="*/ 141102 w 345367"/>
              <a:gd name="connsiteY34" fmla="*/ 166981 h 342688"/>
              <a:gd name="connsiteX35" fmla="*/ 96879 w 345367"/>
              <a:gd name="connsiteY35" fmla="*/ 166981 h 342688"/>
              <a:gd name="connsiteX36" fmla="*/ 168308 w 345367"/>
              <a:gd name="connsiteY36" fmla="*/ 96111 h 342688"/>
              <a:gd name="connsiteX37" fmla="*/ 168308 w 345367"/>
              <a:gd name="connsiteY37" fmla="*/ 140012 h 342688"/>
              <a:gd name="connsiteX38" fmla="*/ 168453 w 345367"/>
              <a:gd name="connsiteY38" fmla="*/ 140746 h 342688"/>
              <a:gd name="connsiteX39" fmla="*/ 141102 w 345367"/>
              <a:gd name="connsiteY39" fmla="*/ 175707 h 342688"/>
              <a:gd name="connsiteX40" fmla="*/ 141864 w 345367"/>
              <a:gd name="connsiteY40" fmla="*/ 175552 h 342688"/>
              <a:gd name="connsiteX41" fmla="*/ 168308 w 345367"/>
              <a:gd name="connsiteY41" fmla="*/ 201925 h 342688"/>
              <a:gd name="connsiteX42" fmla="*/ 168308 w 345367"/>
              <a:gd name="connsiteY42" fmla="*/ 246578 h 342688"/>
              <a:gd name="connsiteX43" fmla="*/ 96879 w 345367"/>
              <a:gd name="connsiteY43" fmla="*/ 175708 h 342688"/>
              <a:gd name="connsiteX44" fmla="*/ 177103 w 345367"/>
              <a:gd name="connsiteY44" fmla="*/ 201925 h 342688"/>
              <a:gd name="connsiteX45" fmla="*/ 203525 w 345367"/>
              <a:gd name="connsiteY45" fmla="*/ 175662 h 342688"/>
              <a:gd name="connsiteX46" fmla="*/ 203757 w 345367"/>
              <a:gd name="connsiteY46" fmla="*/ 175707 h 342688"/>
              <a:gd name="connsiteX47" fmla="*/ 248524 w 345367"/>
              <a:gd name="connsiteY47" fmla="*/ 175707 h 342688"/>
              <a:gd name="connsiteX48" fmla="*/ 177103 w 345367"/>
              <a:gd name="connsiteY48" fmla="*/ 246574 h 342688"/>
              <a:gd name="connsiteX49" fmla="*/ 203757 w 345367"/>
              <a:gd name="connsiteY49" fmla="*/ 166981 h 342688"/>
              <a:gd name="connsiteX50" fmla="*/ 203525 w 345367"/>
              <a:gd name="connsiteY50" fmla="*/ 167027 h 342688"/>
              <a:gd name="connsiteX51" fmla="*/ 176951 w 345367"/>
              <a:gd name="connsiteY51" fmla="*/ 140746 h 342688"/>
              <a:gd name="connsiteX52" fmla="*/ 177103 w 345367"/>
              <a:gd name="connsiteY52" fmla="*/ 140013 h 342688"/>
              <a:gd name="connsiteX53" fmla="*/ 177103 w 345367"/>
              <a:gd name="connsiteY53" fmla="*/ 96111 h 342688"/>
              <a:gd name="connsiteX54" fmla="*/ 248524 w 345367"/>
              <a:gd name="connsiteY54" fmla="*/ 166982 h 342688"/>
              <a:gd name="connsiteX55" fmla="*/ 168308 w 345367"/>
              <a:gd name="connsiteY55" fmla="*/ 41104 h 342688"/>
              <a:gd name="connsiteX56" fmla="*/ 168308 w 345367"/>
              <a:gd name="connsiteY56" fmla="*/ 87388 h 342688"/>
              <a:gd name="connsiteX57" fmla="*/ 88091 w 345367"/>
              <a:gd name="connsiteY57" fmla="*/ 166981 h 342688"/>
              <a:gd name="connsiteX58" fmla="*/ 41446 w 345367"/>
              <a:gd name="connsiteY58" fmla="*/ 166981 h 342688"/>
              <a:gd name="connsiteX59" fmla="*/ 168308 w 345367"/>
              <a:gd name="connsiteY59" fmla="*/ 41104 h 342688"/>
              <a:gd name="connsiteX60" fmla="*/ 41446 w 345367"/>
              <a:gd name="connsiteY60" fmla="*/ 175708 h 342688"/>
              <a:gd name="connsiteX61" fmla="*/ 88091 w 345367"/>
              <a:gd name="connsiteY61" fmla="*/ 175708 h 342688"/>
              <a:gd name="connsiteX62" fmla="*/ 168308 w 345367"/>
              <a:gd name="connsiteY62" fmla="*/ 255301 h 342688"/>
              <a:gd name="connsiteX63" fmla="*/ 168308 w 345367"/>
              <a:gd name="connsiteY63" fmla="*/ 301581 h 342688"/>
              <a:gd name="connsiteX64" fmla="*/ 41446 w 345367"/>
              <a:gd name="connsiteY64" fmla="*/ 175708 h 342688"/>
              <a:gd name="connsiteX65" fmla="*/ 177103 w 345367"/>
              <a:gd name="connsiteY65" fmla="*/ 301581 h 342688"/>
              <a:gd name="connsiteX66" fmla="*/ 177103 w 345367"/>
              <a:gd name="connsiteY66" fmla="*/ 255301 h 342688"/>
              <a:gd name="connsiteX67" fmla="*/ 257320 w 345367"/>
              <a:gd name="connsiteY67" fmla="*/ 175708 h 342688"/>
              <a:gd name="connsiteX68" fmla="*/ 303964 w 345367"/>
              <a:gd name="connsiteY68" fmla="*/ 175707 h 342688"/>
              <a:gd name="connsiteX69" fmla="*/ 177103 w 345367"/>
              <a:gd name="connsiteY69" fmla="*/ 301581 h 3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45367" h="342688">
                <a:moveTo>
                  <a:pt x="340988" y="166981"/>
                </a:moveTo>
                <a:lnTo>
                  <a:pt x="312753" y="166981"/>
                </a:lnTo>
                <a:cubicBezTo>
                  <a:pt x="310367" y="93645"/>
                  <a:pt x="251011" y="34745"/>
                  <a:pt x="177103" y="32378"/>
                </a:cubicBezTo>
                <a:lnTo>
                  <a:pt x="177103" y="4362"/>
                </a:lnTo>
                <a:cubicBezTo>
                  <a:pt x="177103" y="1953"/>
                  <a:pt x="175131" y="0"/>
                  <a:pt x="172702" y="0"/>
                </a:cubicBezTo>
                <a:cubicBezTo>
                  <a:pt x="170273" y="0"/>
                  <a:pt x="168308" y="1953"/>
                  <a:pt x="168308" y="4362"/>
                </a:cubicBezTo>
                <a:lnTo>
                  <a:pt x="168308" y="32378"/>
                </a:lnTo>
                <a:cubicBezTo>
                  <a:pt x="94400" y="34744"/>
                  <a:pt x="35037" y="93644"/>
                  <a:pt x="32651" y="166981"/>
                </a:cubicBezTo>
                <a:lnTo>
                  <a:pt x="4416" y="166981"/>
                </a:lnTo>
                <a:cubicBezTo>
                  <a:pt x="1987" y="166971"/>
                  <a:pt x="8" y="168917"/>
                  <a:pt x="0" y="171326"/>
                </a:cubicBezTo>
                <a:cubicBezTo>
                  <a:pt x="-7" y="173736"/>
                  <a:pt x="1951" y="175698"/>
                  <a:pt x="4380" y="175707"/>
                </a:cubicBezTo>
                <a:cubicBezTo>
                  <a:pt x="4394" y="175707"/>
                  <a:pt x="4402" y="175707"/>
                  <a:pt x="4416" y="175707"/>
                </a:cubicBezTo>
                <a:lnTo>
                  <a:pt x="32651" y="175707"/>
                </a:lnTo>
                <a:cubicBezTo>
                  <a:pt x="35037" y="249043"/>
                  <a:pt x="94400" y="307942"/>
                  <a:pt x="168308" y="310307"/>
                </a:cubicBezTo>
                <a:lnTo>
                  <a:pt x="168308" y="338327"/>
                </a:lnTo>
                <a:cubicBezTo>
                  <a:pt x="168308" y="340735"/>
                  <a:pt x="170273" y="342689"/>
                  <a:pt x="172702" y="342689"/>
                </a:cubicBezTo>
                <a:cubicBezTo>
                  <a:pt x="175131" y="342689"/>
                  <a:pt x="177103" y="340735"/>
                  <a:pt x="177103" y="338327"/>
                </a:cubicBezTo>
                <a:lnTo>
                  <a:pt x="177103" y="310307"/>
                </a:lnTo>
                <a:cubicBezTo>
                  <a:pt x="251011" y="307942"/>
                  <a:pt x="310367" y="249043"/>
                  <a:pt x="312753" y="175708"/>
                </a:cubicBezTo>
                <a:lnTo>
                  <a:pt x="340988" y="175708"/>
                </a:lnTo>
                <a:cubicBezTo>
                  <a:pt x="343417" y="175698"/>
                  <a:pt x="345382" y="173736"/>
                  <a:pt x="345367" y="171327"/>
                </a:cubicBezTo>
                <a:cubicBezTo>
                  <a:pt x="345360" y="168930"/>
                  <a:pt x="343402" y="166991"/>
                  <a:pt x="340988" y="166981"/>
                </a:cubicBezTo>
                <a:close/>
                <a:moveTo>
                  <a:pt x="303964" y="166981"/>
                </a:moveTo>
                <a:lnTo>
                  <a:pt x="257320" y="166981"/>
                </a:lnTo>
                <a:cubicBezTo>
                  <a:pt x="255029" y="123998"/>
                  <a:pt x="220420" y="89658"/>
                  <a:pt x="177103" y="87388"/>
                </a:cubicBezTo>
                <a:lnTo>
                  <a:pt x="177103" y="41104"/>
                </a:lnTo>
                <a:cubicBezTo>
                  <a:pt x="246161" y="43459"/>
                  <a:pt x="301586" y="98460"/>
                  <a:pt x="303964" y="166981"/>
                </a:cubicBezTo>
                <a:close/>
                <a:moveTo>
                  <a:pt x="172702" y="193641"/>
                </a:moveTo>
                <a:cubicBezTo>
                  <a:pt x="160288" y="193641"/>
                  <a:pt x="150231" y="183658"/>
                  <a:pt x="150231" y="171344"/>
                </a:cubicBezTo>
                <a:cubicBezTo>
                  <a:pt x="150231" y="159030"/>
                  <a:pt x="160288" y="149048"/>
                  <a:pt x="172702" y="149048"/>
                </a:cubicBezTo>
                <a:cubicBezTo>
                  <a:pt x="185115" y="149048"/>
                  <a:pt x="195172" y="159030"/>
                  <a:pt x="195172" y="171344"/>
                </a:cubicBezTo>
                <a:cubicBezTo>
                  <a:pt x="195158" y="183652"/>
                  <a:pt x="185108" y="193626"/>
                  <a:pt x="172702" y="193641"/>
                </a:cubicBezTo>
                <a:close/>
                <a:moveTo>
                  <a:pt x="168453" y="140746"/>
                </a:moveTo>
                <a:cubicBezTo>
                  <a:pt x="154633" y="142638"/>
                  <a:pt x="143771" y="153420"/>
                  <a:pt x="141864" y="167132"/>
                </a:cubicBezTo>
                <a:cubicBezTo>
                  <a:pt x="141617" y="167058"/>
                  <a:pt x="141363" y="167008"/>
                  <a:pt x="141102" y="166981"/>
                </a:cubicBezTo>
                <a:lnTo>
                  <a:pt x="96879" y="166981"/>
                </a:lnTo>
                <a:cubicBezTo>
                  <a:pt x="99149" y="128809"/>
                  <a:pt x="129834" y="98357"/>
                  <a:pt x="168308" y="96111"/>
                </a:cubicBezTo>
                <a:lnTo>
                  <a:pt x="168308" y="140012"/>
                </a:lnTo>
                <a:cubicBezTo>
                  <a:pt x="168337" y="140261"/>
                  <a:pt x="168380" y="140507"/>
                  <a:pt x="168453" y="140746"/>
                </a:cubicBezTo>
                <a:close/>
                <a:moveTo>
                  <a:pt x="141102" y="175707"/>
                </a:moveTo>
                <a:cubicBezTo>
                  <a:pt x="141363" y="175679"/>
                  <a:pt x="141617" y="175627"/>
                  <a:pt x="141864" y="175552"/>
                </a:cubicBezTo>
                <a:cubicBezTo>
                  <a:pt x="143756" y="189214"/>
                  <a:pt x="154546" y="199976"/>
                  <a:pt x="168308" y="201925"/>
                </a:cubicBezTo>
                <a:lnTo>
                  <a:pt x="168308" y="246578"/>
                </a:lnTo>
                <a:cubicBezTo>
                  <a:pt x="129834" y="244332"/>
                  <a:pt x="99149" y="213879"/>
                  <a:pt x="96879" y="175708"/>
                </a:cubicBezTo>
                <a:close/>
                <a:moveTo>
                  <a:pt x="177103" y="201925"/>
                </a:moveTo>
                <a:cubicBezTo>
                  <a:pt x="190815" y="199980"/>
                  <a:pt x="201589" y="189275"/>
                  <a:pt x="203525" y="175662"/>
                </a:cubicBezTo>
                <a:cubicBezTo>
                  <a:pt x="203605" y="175665"/>
                  <a:pt x="203678" y="175707"/>
                  <a:pt x="203757" y="175707"/>
                </a:cubicBezTo>
                <a:lnTo>
                  <a:pt x="248524" y="175707"/>
                </a:lnTo>
                <a:cubicBezTo>
                  <a:pt x="246255" y="213877"/>
                  <a:pt x="215569" y="244328"/>
                  <a:pt x="177103" y="246574"/>
                </a:cubicBezTo>
                <a:close/>
                <a:moveTo>
                  <a:pt x="203757" y="166981"/>
                </a:moveTo>
                <a:cubicBezTo>
                  <a:pt x="203678" y="166981"/>
                  <a:pt x="203605" y="167023"/>
                  <a:pt x="203525" y="167027"/>
                </a:cubicBezTo>
                <a:cubicBezTo>
                  <a:pt x="201582" y="153359"/>
                  <a:pt x="190727" y="142633"/>
                  <a:pt x="176951" y="140746"/>
                </a:cubicBezTo>
                <a:cubicBezTo>
                  <a:pt x="177023" y="140507"/>
                  <a:pt x="177074" y="140261"/>
                  <a:pt x="177103" y="140013"/>
                </a:cubicBezTo>
                <a:lnTo>
                  <a:pt x="177103" y="96111"/>
                </a:lnTo>
                <a:cubicBezTo>
                  <a:pt x="215569" y="98360"/>
                  <a:pt x="246255" y="128811"/>
                  <a:pt x="248524" y="166982"/>
                </a:cubicBezTo>
                <a:close/>
                <a:moveTo>
                  <a:pt x="168308" y="41104"/>
                </a:moveTo>
                <a:lnTo>
                  <a:pt x="168308" y="87388"/>
                </a:lnTo>
                <a:cubicBezTo>
                  <a:pt x="124984" y="89656"/>
                  <a:pt x="90375" y="123997"/>
                  <a:pt x="88091" y="166981"/>
                </a:cubicBezTo>
                <a:lnTo>
                  <a:pt x="41446" y="166981"/>
                </a:lnTo>
                <a:cubicBezTo>
                  <a:pt x="43817" y="98460"/>
                  <a:pt x="99250" y="43458"/>
                  <a:pt x="168308" y="41104"/>
                </a:cubicBezTo>
                <a:close/>
                <a:moveTo>
                  <a:pt x="41446" y="175708"/>
                </a:moveTo>
                <a:lnTo>
                  <a:pt x="88091" y="175708"/>
                </a:lnTo>
                <a:cubicBezTo>
                  <a:pt x="90375" y="218691"/>
                  <a:pt x="124984" y="253032"/>
                  <a:pt x="168308" y="255301"/>
                </a:cubicBezTo>
                <a:lnTo>
                  <a:pt x="168308" y="301581"/>
                </a:lnTo>
                <a:cubicBezTo>
                  <a:pt x="99250" y="299231"/>
                  <a:pt x="43817" y="244229"/>
                  <a:pt x="41446" y="175708"/>
                </a:cubicBezTo>
                <a:close/>
                <a:moveTo>
                  <a:pt x="177103" y="301581"/>
                </a:moveTo>
                <a:lnTo>
                  <a:pt x="177103" y="255301"/>
                </a:lnTo>
                <a:cubicBezTo>
                  <a:pt x="220420" y="253031"/>
                  <a:pt x="255029" y="218690"/>
                  <a:pt x="257320" y="175708"/>
                </a:cubicBezTo>
                <a:lnTo>
                  <a:pt x="303964" y="175707"/>
                </a:lnTo>
                <a:cubicBezTo>
                  <a:pt x="301586" y="244227"/>
                  <a:pt x="246153" y="299227"/>
                  <a:pt x="177103" y="301581"/>
                </a:cubicBezTo>
                <a:close/>
              </a:path>
            </a:pathLst>
          </a:custGeom>
          <a:solidFill>
            <a:schemeClr val="bg1"/>
          </a:solidFill>
          <a:ln w="7250" cap="flat">
            <a:solidFill>
              <a:schemeClr val="bg1"/>
            </a:solidFill>
            <a:prstDash val="solid"/>
            <a:miter/>
          </a:ln>
        </p:spPr>
        <p:txBody>
          <a:bodyPr rtlCol="0" anchor="ctr"/>
          <a:lstStyle/>
          <a:p>
            <a:endParaRPr lang="en-US"/>
          </a:p>
        </p:txBody>
      </p:sp>
      <p:sp>
        <p:nvSpPr>
          <p:cNvPr id="32" name="Rectangle 31"/>
          <p:cNvSpPr/>
          <p:nvPr/>
        </p:nvSpPr>
        <p:spPr>
          <a:xfrm>
            <a:off x="1638270" y="203998"/>
            <a:ext cx="8884153"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000" b="1" dirty="0" smtClean="0">
                <a:solidFill>
                  <a:schemeClr val="tx1"/>
                </a:solidFill>
                <a:latin typeface="Arial" panose="020B0604020202020204" pitchFamily="34" charset="0"/>
                <a:cs typeface="Arial" panose="020B0604020202020204" pitchFamily="34" charset="0"/>
              </a:rPr>
              <a:t>Qu’est-ce qu’un </a:t>
            </a:r>
            <a:r>
              <a:rPr lang="fr-FR" sz="2000" b="1" dirty="0" smtClean="0">
                <a:solidFill>
                  <a:srgbClr val="000000"/>
                </a:solidFill>
                <a:cs typeface="Arial" panose="020B0604020202020204" pitchFamily="34" charset="0"/>
              </a:rPr>
              <a:t>organisateur </a:t>
            </a:r>
            <a:r>
              <a:rPr lang="fr-FR" sz="2000" b="1" dirty="0">
                <a:solidFill>
                  <a:srgbClr val="000000"/>
                </a:solidFill>
                <a:cs typeface="Arial" panose="020B0604020202020204" pitchFamily="34" charset="0"/>
              </a:rPr>
              <a:t>d’événement(s) visant à enrichir la base de données </a:t>
            </a:r>
            <a:r>
              <a:rPr lang="fr-FR" sz="2000" b="1" dirty="0" smtClean="0">
                <a:solidFill>
                  <a:srgbClr val="000000"/>
                </a:solidFill>
                <a:cs typeface="Arial" panose="020B0604020202020204" pitchFamily="34" charset="0"/>
              </a:rPr>
              <a:t>nationale</a:t>
            </a:r>
            <a:r>
              <a:rPr lang="fr-FR" sz="2000" b="1" dirty="0" smtClean="0">
                <a:solidFill>
                  <a:schemeClr val="tx1"/>
                </a:solidFill>
                <a:latin typeface="Arial" panose="020B0604020202020204" pitchFamily="34" charset="0"/>
                <a:cs typeface="Arial" panose="020B0604020202020204" pitchFamily="34" charset="0"/>
              </a:rPr>
              <a:t>? Quels sont les objectifs ? </a:t>
            </a:r>
            <a:endParaRPr lang="fr-FR" sz="2000" b="1" dirty="0">
              <a:solidFill>
                <a:schemeClr val="tx1"/>
              </a:solidFill>
              <a:latin typeface="Arial" panose="020B0604020202020204" pitchFamily="34" charset="0"/>
              <a:cs typeface="Arial" panose="020B0604020202020204" pitchFamily="34" charset="0"/>
            </a:endParaRPr>
          </a:p>
        </p:txBody>
      </p:sp>
      <p:sp>
        <p:nvSpPr>
          <p:cNvPr id="23" name="ZoneTexte 22"/>
          <p:cNvSpPr txBox="1"/>
          <p:nvPr/>
        </p:nvSpPr>
        <p:spPr>
          <a:xfrm>
            <a:off x="911225" y="1814340"/>
            <a:ext cx="10800000" cy="1554272"/>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b="1" dirty="0">
                <a:latin typeface="Arial" pitchFamily="34" charset="0"/>
              </a:rPr>
              <a:t>Personne physique ou morale </a:t>
            </a:r>
            <a:r>
              <a:rPr lang="fr-FR" sz="1500" dirty="0">
                <a:latin typeface="Arial" pitchFamily="34" charset="0"/>
              </a:rPr>
              <a:t>organisant un événement en lien avec l’enjeu de santé publique qu’est la mort </a:t>
            </a:r>
            <a:r>
              <a:rPr lang="fr-FR" sz="1500" dirty="0" smtClean="0">
                <a:latin typeface="Arial" pitchFamily="34" charset="0"/>
              </a:rPr>
              <a:t>subite ;</a:t>
            </a:r>
            <a:endParaRPr lang="fr-FR" sz="1500" dirty="0">
              <a:latin typeface="Arial" pitchFamily="34" charset="0"/>
            </a:endParaRP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b="1" dirty="0" smtClean="0">
                <a:latin typeface="Arial" pitchFamily="34" charset="0"/>
              </a:rPr>
              <a:t>L’organisateur </a:t>
            </a:r>
            <a:r>
              <a:rPr lang="fr-FR" sz="1500" b="1" dirty="0">
                <a:latin typeface="Arial" pitchFamily="34" charset="0"/>
              </a:rPr>
              <a:t>collabore </a:t>
            </a:r>
            <a:r>
              <a:rPr lang="fr-FR" sz="1500" dirty="0">
                <a:latin typeface="Arial" pitchFamily="34" charset="0"/>
              </a:rPr>
              <a:t>avec le Ministère de la Santé et de la Prévention afin d’enrichir la base de données </a:t>
            </a:r>
            <a:r>
              <a:rPr lang="fr-FR" sz="1500" dirty="0" err="1" smtClean="0">
                <a:latin typeface="Arial" pitchFamily="34" charset="0"/>
              </a:rPr>
              <a:t>Géo’DAE</a:t>
            </a:r>
            <a:r>
              <a:rPr lang="fr-FR" sz="1500" dirty="0">
                <a:latin typeface="Arial" pitchFamily="34" charset="0"/>
              </a:rPr>
              <a:t> </a:t>
            </a:r>
            <a:r>
              <a:rPr lang="fr-FR" sz="1500" dirty="0" smtClean="0">
                <a:latin typeface="Arial" pitchFamily="34" charset="0"/>
              </a:rPr>
              <a:t>;</a:t>
            </a:r>
            <a:endParaRPr lang="fr-FR" sz="1500" dirty="0">
              <a:latin typeface="Arial" pitchFamily="34" charset="0"/>
            </a:endParaRP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smtClean="0">
                <a:solidFill>
                  <a:srgbClr val="000000"/>
                </a:solidFill>
                <a:latin typeface="Arial" panose="020B0604020202020204" pitchFamily="34" charset="0"/>
                <a:cs typeface="Arial" panose="020B0604020202020204" pitchFamily="34" charset="0"/>
              </a:rPr>
              <a:t>L’organisateur </a:t>
            </a:r>
            <a:r>
              <a:rPr lang="fr-FR" sz="1500" dirty="0">
                <a:solidFill>
                  <a:srgbClr val="000000"/>
                </a:solidFill>
                <a:latin typeface="Arial" panose="020B0604020202020204" pitchFamily="34" charset="0"/>
                <a:cs typeface="Arial" panose="020B0604020202020204" pitchFamily="34" charset="0"/>
              </a:rPr>
              <a:t>accompagne les propriétaires d’ERP sur </a:t>
            </a:r>
            <a:r>
              <a:rPr lang="fr-FR" sz="1500" b="1" dirty="0">
                <a:solidFill>
                  <a:srgbClr val="000000"/>
                </a:solidFill>
                <a:latin typeface="Arial" panose="020B0604020202020204" pitchFamily="34" charset="0"/>
                <a:cs typeface="Arial" panose="020B0604020202020204" pitchFamily="34" charset="0"/>
              </a:rPr>
              <a:t>la mise en application du respect de la réglementation relative à l’installation, la signalétique et la maintenance d’un DAE </a:t>
            </a:r>
            <a:r>
              <a:rPr lang="fr-FR" sz="1500" dirty="0">
                <a:solidFill>
                  <a:srgbClr val="000000"/>
                </a:solidFill>
                <a:latin typeface="Arial" panose="020B0604020202020204" pitchFamily="34" charset="0"/>
                <a:cs typeface="Arial" panose="020B0604020202020204" pitchFamily="34" charset="0"/>
              </a:rPr>
              <a:t>;</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solidFill>
                  <a:srgbClr val="000000"/>
                </a:solidFill>
                <a:latin typeface="Arial" panose="020B0604020202020204" pitchFamily="34" charset="0"/>
                <a:cs typeface="Arial" panose="020B0604020202020204" pitchFamily="34" charset="0"/>
              </a:rPr>
              <a:t>L’organisateur accompagne plus particulièrement les exploitants de DAE </a:t>
            </a:r>
            <a:r>
              <a:rPr lang="fr-FR" sz="1500" b="1" dirty="0">
                <a:solidFill>
                  <a:srgbClr val="000000"/>
                </a:solidFill>
                <a:latin typeface="Arial" panose="020B0604020202020204" pitchFamily="34" charset="0"/>
                <a:cs typeface="Arial" panose="020B0604020202020204" pitchFamily="34" charset="0"/>
              </a:rPr>
              <a:t>sur la mise en application de l’obligation de déclaration des informations du DAE dans la base de données </a:t>
            </a:r>
            <a:r>
              <a:rPr lang="fr-FR" sz="1500" b="1" dirty="0" err="1">
                <a:solidFill>
                  <a:srgbClr val="000000"/>
                </a:solidFill>
                <a:latin typeface="Arial" panose="020B0604020202020204" pitchFamily="34" charset="0"/>
                <a:cs typeface="Arial" panose="020B0604020202020204" pitchFamily="34" charset="0"/>
              </a:rPr>
              <a:t>Géo’DAE</a:t>
            </a:r>
            <a:r>
              <a:rPr lang="fr-FR" sz="1500" dirty="0">
                <a:solidFill>
                  <a:srgbClr val="000000"/>
                </a:solidFill>
                <a:latin typeface="Arial" panose="020B0604020202020204" pitchFamily="34" charset="0"/>
                <a:cs typeface="Arial" panose="020B0604020202020204" pitchFamily="34" charset="0"/>
              </a:rPr>
              <a:t>.</a:t>
            </a:r>
          </a:p>
        </p:txBody>
      </p:sp>
      <p:sp>
        <p:nvSpPr>
          <p:cNvPr id="25" name="ZoneTexte 24"/>
          <p:cNvSpPr txBox="1"/>
          <p:nvPr/>
        </p:nvSpPr>
        <p:spPr>
          <a:xfrm>
            <a:off x="924873" y="4528243"/>
            <a:ext cx="10800000" cy="1477328"/>
          </a:xfrm>
          <a:prstGeom prst="rect">
            <a:avLst/>
          </a:prstGeom>
          <a:noFill/>
        </p:spPr>
        <p:txBody>
          <a:bodyPr wrap="square" rtlCol="0">
            <a:spAutoFit/>
          </a:bodyPr>
          <a:lstStyle/>
          <a:p>
            <a:pPr marL="285750" lvl="0" indent="-285750" algn="just">
              <a:buClr>
                <a:schemeClr val="accent6">
                  <a:lumMod val="75000"/>
                </a:schemeClr>
              </a:buClr>
              <a:buFont typeface="Arial" panose="020B0604020202020204" pitchFamily="34" charset="0"/>
              <a:buChar char="•"/>
              <a:defRPr/>
            </a:pPr>
            <a:r>
              <a:rPr lang="fr-FR" sz="1500" b="1" dirty="0">
                <a:solidFill>
                  <a:srgbClr val="000000"/>
                </a:solidFill>
                <a:latin typeface="Arial" panose="020B0604020202020204" pitchFamily="34" charset="0"/>
                <a:cs typeface="Arial" panose="020B0604020202020204" pitchFamily="34" charset="0"/>
              </a:rPr>
              <a:t>Accompagner et sensibiliser les exploitants sur le respect de leurs obligations réglementaires </a:t>
            </a:r>
            <a:r>
              <a:rPr lang="fr-FR" sz="1500" dirty="0">
                <a:solidFill>
                  <a:srgbClr val="000000"/>
                </a:solidFill>
                <a:latin typeface="Arial" panose="020B0604020202020204" pitchFamily="34" charset="0"/>
                <a:cs typeface="Arial" panose="020B0604020202020204" pitchFamily="34" charset="0"/>
              </a:rPr>
              <a:t>;</a:t>
            </a:r>
          </a:p>
          <a:p>
            <a:pPr marL="285750" lvl="0" indent="-285750" algn="just">
              <a:buFont typeface="Arial" panose="020B0604020202020204" pitchFamily="34" charset="0"/>
              <a:buChar char="•"/>
              <a:defRPr/>
            </a:pPr>
            <a:r>
              <a:rPr lang="fr-FR" sz="1500" b="1" dirty="0">
                <a:solidFill>
                  <a:srgbClr val="000000"/>
                </a:solidFill>
                <a:latin typeface="Arial" panose="020B0604020202020204" pitchFamily="34" charset="0"/>
                <a:cs typeface="Arial" panose="020B0604020202020204" pitchFamily="34" charset="0"/>
              </a:rPr>
              <a:t>Contribuer à l’enrichissement d’une base de données concourant à l’intérêt général,</a:t>
            </a:r>
            <a:r>
              <a:rPr lang="fr-FR" sz="1500" dirty="0">
                <a:solidFill>
                  <a:srgbClr val="000000"/>
                </a:solidFill>
                <a:latin typeface="Arial" panose="020B0604020202020204" pitchFamily="34" charset="0"/>
                <a:cs typeface="Arial" panose="020B0604020202020204" pitchFamily="34" charset="0"/>
              </a:rPr>
              <a:t> en participant à l’augmentation du nombre de données disponibles ;</a:t>
            </a:r>
          </a:p>
          <a:p>
            <a:pPr marL="285750" lvl="0" indent="-285750" algn="just">
              <a:buFont typeface="Arial" panose="020B0604020202020204" pitchFamily="34" charset="0"/>
              <a:buChar char="•"/>
              <a:defRPr/>
            </a:pPr>
            <a:r>
              <a:rPr lang="fr-FR" sz="1500" b="1" dirty="0">
                <a:latin typeface="Arial" panose="020B0604020202020204" pitchFamily="34" charset="0"/>
                <a:cs typeface="Arial" panose="020B0604020202020204" pitchFamily="34" charset="0"/>
              </a:rPr>
              <a:t>Intégrer dans leurs activités des enjeux de santé publique </a:t>
            </a:r>
            <a:r>
              <a:rPr lang="fr-FR" sz="1500" dirty="0">
                <a:latin typeface="Arial" panose="020B0604020202020204" pitchFamily="34" charset="0"/>
                <a:cs typeface="Arial" panose="020B0604020202020204" pitchFamily="34" charset="0"/>
              </a:rPr>
              <a:t>notamment en matière de lutte contre la mort subite ; </a:t>
            </a:r>
          </a:p>
          <a:p>
            <a:pPr marL="285750" lvl="0" indent="-285750" algn="just">
              <a:buFont typeface="Arial" panose="020B0604020202020204" pitchFamily="34" charset="0"/>
              <a:buChar char="•"/>
              <a:defRPr/>
            </a:pPr>
            <a:r>
              <a:rPr lang="fr-FR" sz="1500" b="1" dirty="0">
                <a:latin typeface="Arial" panose="020B0604020202020204" pitchFamily="34" charset="0"/>
                <a:cs typeface="Arial" panose="020B0604020202020204" pitchFamily="34" charset="0"/>
              </a:rPr>
              <a:t>Participer activement par la sensibilisation à l’usage du DAE et la promotion des gestes de premiers secours à l’augmentation des chances de survie </a:t>
            </a:r>
            <a:r>
              <a:rPr lang="fr-FR" sz="1500" dirty="0">
                <a:latin typeface="Arial" panose="020B0604020202020204" pitchFamily="34" charset="0"/>
                <a:cs typeface="Arial" panose="020B0604020202020204" pitchFamily="34" charset="0"/>
              </a:rPr>
              <a:t>lors d’un arrêt cardiaque.</a:t>
            </a:r>
            <a:endParaRPr lang="fr-FR" sz="15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04344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638268" y="226790"/>
            <a:ext cx="8856859"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000" b="1" dirty="0" smtClean="0">
                <a:solidFill>
                  <a:schemeClr val="tx1"/>
                </a:solidFill>
                <a:latin typeface="Arial" panose="020B0604020202020204" pitchFamily="34" charset="0"/>
                <a:cs typeface="Arial" panose="020B0604020202020204" pitchFamily="34" charset="0"/>
              </a:rPr>
              <a:t>Je suis </a:t>
            </a:r>
            <a:r>
              <a:rPr lang="fr-FR" sz="2000" b="1" dirty="0">
                <a:solidFill>
                  <a:schemeClr val="tx1"/>
                </a:solidFill>
                <a:latin typeface="Arial" panose="020B0604020202020204" pitchFamily="34" charset="0"/>
                <a:cs typeface="Arial" panose="020B0604020202020204" pitchFamily="34" charset="0"/>
              </a:rPr>
              <a:t>organisateur d’événement(s) visant à enrichir la base de données nationale, sous quelles conditions puis-je utiliser la marque ? </a:t>
            </a:r>
          </a:p>
        </p:txBody>
      </p:sp>
      <p:sp>
        <p:nvSpPr>
          <p:cNvPr id="28" name="Rechteck 18"/>
          <p:cNvSpPr/>
          <p:nvPr>
            <p:custDataLst>
              <p:tags r:id="rId1"/>
            </p:custDataLst>
          </p:nvPr>
        </p:nvSpPr>
        <p:spPr bwMode="gray">
          <a:xfrm>
            <a:off x="514350" y="1616712"/>
            <a:ext cx="11449050" cy="1801626"/>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endParaRPr lang="fr-FR" sz="1400" dirty="0">
              <a:solidFill>
                <a:schemeClr val="tx1"/>
              </a:solidFill>
              <a:latin typeface="Arial" pitchFamily="34" charset="0"/>
            </a:endParaRPr>
          </a:p>
        </p:txBody>
      </p:sp>
      <p:sp>
        <p:nvSpPr>
          <p:cNvPr id="32" name="Rechteck 21"/>
          <p:cNvSpPr/>
          <p:nvPr>
            <p:custDataLst>
              <p:tags r:id="rId2"/>
            </p:custDataLst>
          </p:nvPr>
        </p:nvSpPr>
        <p:spPr bwMode="gray">
          <a:xfrm>
            <a:off x="514350" y="4285082"/>
            <a:ext cx="11449050" cy="1080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endParaRPr lang="fr-FR" sz="1400" dirty="0">
              <a:solidFill>
                <a:schemeClr val="tx1"/>
              </a:solidFill>
              <a:latin typeface="Arial" pitchFamily="34" charset="0"/>
            </a:endParaRPr>
          </a:p>
        </p:txBody>
      </p:sp>
      <p:sp>
        <p:nvSpPr>
          <p:cNvPr id="30" name="Rechteck 19"/>
          <p:cNvSpPr/>
          <p:nvPr>
            <p:custDataLst>
              <p:tags r:id="rId3"/>
            </p:custDataLst>
          </p:nvPr>
        </p:nvSpPr>
        <p:spPr bwMode="gray">
          <a:xfrm>
            <a:off x="1174049" y="3863864"/>
            <a:ext cx="9000000" cy="612000"/>
          </a:xfrm>
          <a:prstGeom prst="round2DiagRect">
            <a:avLst/>
          </a:prstGeom>
          <a:solidFill>
            <a:srgbClr val="C00000"/>
          </a:solidFill>
          <a:ln w="9525" algn="ctr">
            <a:noFill/>
            <a:miter lim="800000"/>
            <a:headEnd/>
            <a:tailEnd/>
          </a:ln>
          <a:effectLst/>
        </p:spPr>
        <p:txBody>
          <a:bodyPr lIns="84656" tIns="0" rIns="86389" bIns="0" rtlCol="0" anchor="ctr"/>
          <a:lstStyle/>
          <a:p>
            <a:pPr marL="177800" defTabSz="1219048">
              <a:spcBef>
                <a:spcPct val="0"/>
              </a:spcBef>
              <a:buSzPct val="90000"/>
            </a:pPr>
            <a:r>
              <a:rPr lang="fr-FR" sz="1600" b="1" kern="0" dirty="0">
                <a:solidFill>
                  <a:srgbClr val="FFFFFF"/>
                </a:solidFill>
                <a:latin typeface="+mj-lt"/>
                <a:cs typeface="Arial" pitchFamily="34" charset="0"/>
              </a:rPr>
              <a:t>Je transmets à la base de données nationale les données recueillies dans le cadre de l’événement en respectant le standard défini</a:t>
            </a:r>
          </a:p>
        </p:txBody>
      </p:sp>
      <p:sp>
        <p:nvSpPr>
          <p:cNvPr id="17" name="Espace réservé du numéro de diapositive 1"/>
          <p:cNvSpPr>
            <a:spLocks noGrp="1"/>
          </p:cNvSpPr>
          <p:nvPr>
            <p:ph type="sldNum" sz="quarter" idx="12"/>
          </p:nvPr>
        </p:nvSpPr>
        <p:spPr>
          <a:xfrm>
            <a:off x="9863667" y="6277966"/>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3</a:t>
            </a:fld>
            <a:endParaRPr lang="fr-FR" sz="1050" dirty="0">
              <a:solidFill>
                <a:srgbClr val="FFFFFF"/>
              </a:solidFill>
              <a:latin typeface="Arial"/>
              <a:ea typeface="+mn-ea"/>
              <a:cs typeface="+mn-cs"/>
            </a:endParaRPr>
          </a:p>
        </p:txBody>
      </p:sp>
      <p:sp>
        <p:nvSpPr>
          <p:cNvPr id="21" name="Rectangle avec coins arrondis en diagonale 20">
            <a:extLst>
              <a:ext uri="{FF2B5EF4-FFF2-40B4-BE49-F238E27FC236}">
                <a16:creationId xmlns:a16="http://schemas.microsoft.com/office/drawing/2014/main" id="{E88DB530-21C2-EC48-AB99-4DFA630FA8C9}"/>
              </a:ext>
            </a:extLst>
          </p:cNvPr>
          <p:cNvSpPr/>
          <p:nvPr/>
        </p:nvSpPr>
        <p:spPr bwMode="gray">
          <a:xfrm>
            <a:off x="1172395" y="1113045"/>
            <a:ext cx="9000000" cy="612000"/>
          </a:xfrm>
          <a:prstGeom prst="round2DiagRect">
            <a:avLst/>
          </a:prstGeom>
          <a:solidFill>
            <a:srgbClr val="E97B7B"/>
          </a:solidFill>
          <a:ln w="38100" algn="ctr">
            <a:noFill/>
            <a:miter lim="800000"/>
            <a:headEnd/>
            <a:tailEnd/>
          </a:ln>
          <a:effectLst/>
        </p:spPr>
        <p:txBody>
          <a:bodyPr wrap="none" lIns="0" tIns="0" rIns="0" bIns="36000" rtlCol="0" anchor="ctr"/>
          <a:lstStyle/>
          <a:p>
            <a:pPr marL="182563"/>
            <a:r>
              <a:rPr lang="fr-FR" sz="1600" b="1" dirty="0">
                <a:solidFill>
                  <a:schemeClr val="bg1"/>
                </a:solidFill>
                <a:cs typeface="Arial" panose="020B0604020202020204" pitchFamily="34" charset="0"/>
              </a:rPr>
              <a:t>Je préviens le </a:t>
            </a:r>
            <a:r>
              <a:rPr lang="fr-FR" sz="1600" b="1" dirty="0" smtClean="0">
                <a:solidFill>
                  <a:schemeClr val="bg1"/>
                </a:solidFill>
                <a:cs typeface="Arial" panose="020B0604020202020204" pitchFamily="34" charset="0"/>
              </a:rPr>
              <a:t>Ministère de Santé et de la Prévention de l’organisation </a:t>
            </a:r>
            <a:r>
              <a:rPr lang="fr-FR" sz="1600" b="1" dirty="0">
                <a:solidFill>
                  <a:schemeClr val="bg1"/>
                </a:solidFill>
                <a:cs typeface="Arial" panose="020B0604020202020204" pitchFamily="34" charset="0"/>
              </a:rPr>
              <a:t>de l’événement </a:t>
            </a:r>
            <a:endParaRPr lang="fr-FR" sz="1600" b="1" dirty="0" smtClean="0">
              <a:solidFill>
                <a:schemeClr val="bg1"/>
              </a:solidFill>
              <a:cs typeface="Arial" panose="020B0604020202020204" pitchFamily="34" charset="0"/>
            </a:endParaRPr>
          </a:p>
          <a:p>
            <a:pPr marL="182563"/>
            <a:r>
              <a:rPr lang="fr-FR" sz="1600" b="1" dirty="0" smtClean="0">
                <a:solidFill>
                  <a:schemeClr val="bg1"/>
                </a:solidFill>
                <a:cs typeface="Arial" panose="020B0604020202020204" pitchFamily="34" charset="0"/>
              </a:rPr>
              <a:t>au </a:t>
            </a:r>
            <a:r>
              <a:rPr lang="fr-FR" sz="1600" b="1" dirty="0">
                <a:solidFill>
                  <a:schemeClr val="bg1"/>
                </a:solidFill>
                <a:cs typeface="Arial" panose="020B0604020202020204" pitchFamily="34" charset="0"/>
              </a:rPr>
              <a:t>moins 3 mois avant sa tenue</a:t>
            </a:r>
          </a:p>
        </p:txBody>
      </p:sp>
      <p:grpSp>
        <p:nvGrpSpPr>
          <p:cNvPr id="23" name="Gruppieren 27">
            <a:extLst>
              <a:ext uri="{FF2B5EF4-FFF2-40B4-BE49-F238E27FC236}">
                <a16:creationId xmlns:a16="http://schemas.microsoft.com/office/drawing/2014/main" id="{A86C02A6-7A47-0643-9605-75F8102EDFBA}"/>
              </a:ext>
            </a:extLst>
          </p:cNvPr>
          <p:cNvGrpSpPr>
            <a:grpSpLocks noChangeAspect="1"/>
          </p:cNvGrpSpPr>
          <p:nvPr/>
        </p:nvGrpSpPr>
        <p:grpSpPr>
          <a:xfrm>
            <a:off x="301496" y="896174"/>
            <a:ext cx="972002" cy="972000"/>
            <a:chOff x="7502618" y="1206411"/>
            <a:chExt cx="650014" cy="650013"/>
          </a:xfrm>
          <a:solidFill>
            <a:srgbClr val="E97B7B"/>
          </a:solidFill>
        </p:grpSpPr>
        <p:sp>
          <p:nvSpPr>
            <p:cNvPr id="29" name="Ellipse 28">
              <a:extLst>
                <a:ext uri="{FF2B5EF4-FFF2-40B4-BE49-F238E27FC236}">
                  <a16:creationId xmlns:a16="http://schemas.microsoft.com/office/drawing/2014/main" id="{3F79BEB0-6F7D-FA4B-80AB-E09E16CD7EF4}"/>
                </a:ext>
              </a:extLst>
            </p:cNvPr>
            <p:cNvSpPr/>
            <p:nvPr/>
          </p:nvSpPr>
          <p:spPr bwMode="gray">
            <a:xfrm>
              <a:off x="7502618" y="1206412"/>
              <a:ext cx="487510" cy="487510"/>
            </a:xfrm>
            <a:prstGeom prst="ellipse">
              <a:avLst/>
            </a:prstGeom>
            <a:grpFill/>
            <a:ln w="15240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en-US" sz="2000" b="1" i="0" u="none" strike="noStrike" kern="0" cap="none" spc="0" normalizeH="0" baseline="0" noProof="0" dirty="0" smtClean="0">
                <a:ln>
                  <a:noFill/>
                </a:ln>
                <a:solidFill>
                  <a:srgbClr val="000000"/>
                </a:solidFill>
                <a:effectLst/>
                <a:uLnTx/>
                <a:uFillTx/>
                <a:cs typeface="Arial" pitchFamily="34" charset="0"/>
              </a:endParaRPr>
            </a:p>
          </p:txBody>
        </p:sp>
        <p:sp>
          <p:nvSpPr>
            <p:cNvPr id="31" name="Ellipse 30">
              <a:extLst>
                <a:ext uri="{FF2B5EF4-FFF2-40B4-BE49-F238E27FC236}">
                  <a16:creationId xmlns:a16="http://schemas.microsoft.com/office/drawing/2014/main" id="{D910C680-A94C-6A4A-A1C0-68776357678E}"/>
                </a:ext>
              </a:extLst>
            </p:cNvPr>
            <p:cNvSpPr>
              <a:spLocks noChangeAspect="1"/>
            </p:cNvSpPr>
            <p:nvPr/>
          </p:nvSpPr>
          <p:spPr bwMode="gray">
            <a:xfrm>
              <a:off x="7502619" y="1206411"/>
              <a:ext cx="650013" cy="650013"/>
            </a:xfrm>
            <a:prstGeom prst="ellipse">
              <a:avLst/>
            </a:prstGeom>
            <a:grp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sp>
        <p:nvSpPr>
          <p:cNvPr id="42" name="Ellipse 41">
            <a:extLst>
              <a:ext uri="{FF2B5EF4-FFF2-40B4-BE49-F238E27FC236}">
                <a16:creationId xmlns:a16="http://schemas.microsoft.com/office/drawing/2014/main" id="{D910C680-A94C-6A4A-A1C0-68776357678E}"/>
              </a:ext>
            </a:extLst>
          </p:cNvPr>
          <p:cNvSpPr>
            <a:spLocks noChangeAspect="1"/>
          </p:cNvSpPr>
          <p:nvPr/>
        </p:nvSpPr>
        <p:spPr bwMode="gray">
          <a:xfrm>
            <a:off x="315151" y="3661337"/>
            <a:ext cx="972001" cy="972000"/>
          </a:xfrm>
          <a:prstGeom prst="ellipse">
            <a:avLst/>
          </a:prstGeom>
          <a:solidFill>
            <a:srgbClr val="C00000"/>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sp>
        <p:nvSpPr>
          <p:cNvPr id="33" name="ZoneTexte 32"/>
          <p:cNvSpPr txBox="1"/>
          <p:nvPr/>
        </p:nvSpPr>
        <p:spPr>
          <a:xfrm>
            <a:off x="911225" y="1814340"/>
            <a:ext cx="10800000" cy="1502976"/>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e m’engage </a:t>
            </a:r>
            <a:r>
              <a:rPr lang="fr-FR" sz="1500" b="1" dirty="0">
                <a:latin typeface="Arial" pitchFamily="34" charset="0"/>
              </a:rPr>
              <a:t>à contacter, à minima 3 mois avant la tenue de mon événement, le Ministère de la Santé et de la Prévention </a:t>
            </a:r>
            <a:r>
              <a:rPr lang="fr-FR" sz="1500" dirty="0">
                <a:latin typeface="Arial" pitchFamily="34" charset="0"/>
              </a:rPr>
              <a:t>en lui précisant la nature de l’événement, le programme et une description de l’activité organisée pour enrichir la base de données nationale. </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A noter : par enrichir la base de données nationale est entendu le recueil de données permettant d’augmenter le nombre de DAE recensés, d’améliorer la qualité de la donnée ou la précision de la localisation des DAE déjà présents au sein de la base.</a:t>
            </a:r>
          </a:p>
        </p:txBody>
      </p:sp>
      <p:sp>
        <p:nvSpPr>
          <p:cNvPr id="34" name="ZoneTexte 33"/>
          <p:cNvSpPr txBox="1"/>
          <p:nvPr/>
        </p:nvSpPr>
        <p:spPr>
          <a:xfrm>
            <a:off x="931673" y="4647721"/>
            <a:ext cx="10800000" cy="610424"/>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600" dirty="0">
                <a:latin typeface="Arial" pitchFamily="34" charset="0"/>
              </a:rPr>
              <a:t>Je m’engage à </a:t>
            </a:r>
            <a:r>
              <a:rPr lang="fr-FR" sz="1600" b="1" dirty="0">
                <a:latin typeface="Arial" pitchFamily="34" charset="0"/>
              </a:rPr>
              <a:t>transmettre à titre gratuit l’ensemble des données </a:t>
            </a:r>
            <a:r>
              <a:rPr lang="fr-FR" sz="1600" dirty="0">
                <a:latin typeface="Arial" pitchFamily="34" charset="0"/>
              </a:rPr>
              <a:t>avec le maximum d’informations</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600" dirty="0">
                <a:latin typeface="Arial" pitchFamily="34" charset="0"/>
              </a:rPr>
              <a:t>Je fournis les données à minima </a:t>
            </a:r>
            <a:r>
              <a:rPr lang="fr-FR" sz="1600" b="1" dirty="0">
                <a:latin typeface="Arial" pitchFamily="34" charset="0"/>
              </a:rPr>
              <a:t>au format électronique</a:t>
            </a:r>
            <a:r>
              <a:rPr lang="fr-FR" sz="1600" dirty="0">
                <a:latin typeface="Arial" pitchFamily="34" charset="0"/>
              </a:rPr>
              <a:t>, en utilisant les gabarits mis à disposition.</a:t>
            </a:r>
          </a:p>
        </p:txBody>
      </p:sp>
      <p:grpSp>
        <p:nvGrpSpPr>
          <p:cNvPr id="35" name="Group 348">
            <a:extLst>
              <a:ext uri="{FF2B5EF4-FFF2-40B4-BE49-F238E27FC236}">
                <a16:creationId xmlns:a16="http://schemas.microsoft.com/office/drawing/2014/main" id="{E7311D6C-0BB8-514E-B268-D1F6A3690034}"/>
              </a:ext>
            </a:extLst>
          </p:cNvPr>
          <p:cNvGrpSpPr>
            <a:grpSpLocks noChangeAspect="1"/>
          </p:cNvGrpSpPr>
          <p:nvPr/>
        </p:nvGrpSpPr>
        <p:grpSpPr>
          <a:xfrm>
            <a:off x="550180" y="1086646"/>
            <a:ext cx="551266" cy="648000"/>
            <a:chOff x="1609943" y="2649994"/>
            <a:chExt cx="225238" cy="264762"/>
          </a:xfrm>
          <a:solidFill>
            <a:schemeClr val="bg1"/>
          </a:solidFill>
        </p:grpSpPr>
        <p:sp>
          <p:nvSpPr>
            <p:cNvPr id="37" name="Freeform 349">
              <a:extLst>
                <a:ext uri="{FF2B5EF4-FFF2-40B4-BE49-F238E27FC236}">
                  <a16:creationId xmlns:a16="http://schemas.microsoft.com/office/drawing/2014/main" id="{557FA530-2663-DD40-A645-B3DC1C1FF7A4}"/>
                </a:ext>
              </a:extLst>
            </p:cNvPr>
            <p:cNvSpPr/>
            <p:nvPr/>
          </p:nvSpPr>
          <p:spPr>
            <a:xfrm>
              <a:off x="1720169" y="2649994"/>
              <a:ext cx="115012" cy="95262"/>
            </a:xfrm>
            <a:custGeom>
              <a:avLst/>
              <a:gdLst>
                <a:gd name="connsiteX0" fmla="*/ 113171 w 115012"/>
                <a:gd name="connsiteY0" fmla="*/ 804 h 95262"/>
                <a:gd name="connsiteX1" fmla="*/ 109048 w 115012"/>
                <a:gd name="connsiteY1" fmla="*/ 218 h 95262"/>
                <a:gd name="connsiteX2" fmla="*/ 56254 w 115012"/>
                <a:gd name="connsiteY2" fmla="*/ 18552 h 95262"/>
                <a:gd name="connsiteX3" fmla="*/ 20543 w 115012"/>
                <a:gd name="connsiteY3" fmla="*/ 18552 h 95262"/>
                <a:gd name="connsiteX4" fmla="*/ 0 w 115012"/>
                <a:gd name="connsiteY4" fmla="*/ 39013 h 95262"/>
                <a:gd name="connsiteX5" fmla="*/ 0 w 115012"/>
                <a:gd name="connsiteY5" fmla="*/ 41947 h 95262"/>
                <a:gd name="connsiteX6" fmla="*/ 20543 w 115012"/>
                <a:gd name="connsiteY6" fmla="*/ 62408 h 95262"/>
                <a:gd name="connsiteX7" fmla="*/ 26875 w 115012"/>
                <a:gd name="connsiteY7" fmla="*/ 62408 h 95262"/>
                <a:gd name="connsiteX8" fmla="*/ 26875 w 115012"/>
                <a:gd name="connsiteY8" fmla="*/ 84409 h 95262"/>
                <a:gd name="connsiteX9" fmla="*/ 37773 w 115012"/>
                <a:gd name="connsiteY9" fmla="*/ 95263 h 95262"/>
                <a:gd name="connsiteX10" fmla="*/ 41823 w 115012"/>
                <a:gd name="connsiteY10" fmla="*/ 95263 h 95262"/>
                <a:gd name="connsiteX11" fmla="*/ 52720 w 115012"/>
                <a:gd name="connsiteY11" fmla="*/ 84409 h 95262"/>
                <a:gd name="connsiteX12" fmla="*/ 52720 w 115012"/>
                <a:gd name="connsiteY12" fmla="*/ 62408 h 95262"/>
                <a:gd name="connsiteX13" fmla="*/ 56328 w 115012"/>
                <a:gd name="connsiteY13" fmla="*/ 62408 h 95262"/>
                <a:gd name="connsiteX14" fmla="*/ 109121 w 115012"/>
                <a:gd name="connsiteY14" fmla="*/ 80522 h 95262"/>
                <a:gd name="connsiteX15" fmla="*/ 110520 w 115012"/>
                <a:gd name="connsiteY15" fmla="*/ 80522 h 95262"/>
                <a:gd name="connsiteX16" fmla="*/ 113171 w 115012"/>
                <a:gd name="connsiteY16" fmla="*/ 79715 h 95262"/>
                <a:gd name="connsiteX17" fmla="*/ 115012 w 115012"/>
                <a:gd name="connsiteY17" fmla="*/ 76049 h 95262"/>
                <a:gd name="connsiteX18" fmla="*/ 115012 w 115012"/>
                <a:gd name="connsiteY18" fmla="*/ 4471 h 95262"/>
                <a:gd name="connsiteX19" fmla="*/ 113171 w 115012"/>
                <a:gd name="connsiteY19" fmla="*/ 804 h 95262"/>
                <a:gd name="connsiteX20" fmla="*/ 8909 w 115012"/>
                <a:gd name="connsiteY20" fmla="*/ 41947 h 95262"/>
                <a:gd name="connsiteX21" fmla="*/ 8909 w 115012"/>
                <a:gd name="connsiteY21" fmla="*/ 39013 h 95262"/>
                <a:gd name="connsiteX22" fmla="*/ 20543 w 115012"/>
                <a:gd name="connsiteY22" fmla="*/ 27426 h 95262"/>
                <a:gd name="connsiteX23" fmla="*/ 52573 w 115012"/>
                <a:gd name="connsiteY23" fmla="*/ 27426 h 95262"/>
                <a:gd name="connsiteX24" fmla="*/ 52573 w 115012"/>
                <a:gd name="connsiteY24" fmla="*/ 53681 h 95262"/>
                <a:gd name="connsiteX25" fmla="*/ 20543 w 115012"/>
                <a:gd name="connsiteY25" fmla="*/ 53681 h 95262"/>
                <a:gd name="connsiteX26" fmla="*/ 8909 w 115012"/>
                <a:gd name="connsiteY26" fmla="*/ 42094 h 95262"/>
                <a:gd name="connsiteX27" fmla="*/ 8909 w 115012"/>
                <a:gd name="connsiteY27" fmla="*/ 41947 h 95262"/>
                <a:gd name="connsiteX28" fmla="*/ 43737 w 115012"/>
                <a:gd name="connsiteY28" fmla="*/ 84702 h 95262"/>
                <a:gd name="connsiteX29" fmla="*/ 41823 w 115012"/>
                <a:gd name="connsiteY29" fmla="*/ 86609 h 95262"/>
                <a:gd name="connsiteX30" fmla="*/ 37773 w 115012"/>
                <a:gd name="connsiteY30" fmla="*/ 86609 h 95262"/>
                <a:gd name="connsiteX31" fmla="*/ 35785 w 115012"/>
                <a:gd name="connsiteY31" fmla="*/ 84777 h 95262"/>
                <a:gd name="connsiteX32" fmla="*/ 35785 w 115012"/>
                <a:gd name="connsiteY32" fmla="*/ 84702 h 95262"/>
                <a:gd name="connsiteX33" fmla="*/ 35785 w 115012"/>
                <a:gd name="connsiteY33" fmla="*/ 62701 h 95262"/>
                <a:gd name="connsiteX34" fmla="*/ 43737 w 115012"/>
                <a:gd name="connsiteY34" fmla="*/ 62701 h 95262"/>
                <a:gd name="connsiteX35" fmla="*/ 106103 w 115012"/>
                <a:gd name="connsiteY35" fmla="*/ 70035 h 95262"/>
                <a:gd name="connsiteX36" fmla="*/ 61556 w 115012"/>
                <a:gd name="connsiteY36" fmla="*/ 54781 h 95262"/>
                <a:gd name="connsiteX37" fmla="*/ 61556 w 115012"/>
                <a:gd name="connsiteY37" fmla="*/ 26179 h 95262"/>
                <a:gd name="connsiteX38" fmla="*/ 106103 w 115012"/>
                <a:gd name="connsiteY38" fmla="*/ 10705 h 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5012" h="95262">
                  <a:moveTo>
                    <a:pt x="113171" y="804"/>
                  </a:moveTo>
                  <a:cubicBezTo>
                    <a:pt x="111956" y="2"/>
                    <a:pt x="110439" y="-213"/>
                    <a:pt x="109048" y="218"/>
                  </a:cubicBezTo>
                  <a:lnTo>
                    <a:pt x="56254" y="18552"/>
                  </a:lnTo>
                  <a:lnTo>
                    <a:pt x="20543" y="18552"/>
                  </a:lnTo>
                  <a:cubicBezTo>
                    <a:pt x="9211" y="18592"/>
                    <a:pt x="37" y="27729"/>
                    <a:pt x="0" y="39013"/>
                  </a:cubicBezTo>
                  <a:lnTo>
                    <a:pt x="0" y="41947"/>
                  </a:lnTo>
                  <a:cubicBezTo>
                    <a:pt x="0" y="53247"/>
                    <a:pt x="9197" y="62408"/>
                    <a:pt x="20543" y="62408"/>
                  </a:cubicBezTo>
                  <a:lnTo>
                    <a:pt x="26875" y="62408"/>
                  </a:lnTo>
                  <a:lnTo>
                    <a:pt x="26875" y="84409"/>
                  </a:lnTo>
                  <a:cubicBezTo>
                    <a:pt x="26875" y="90404"/>
                    <a:pt x="31757" y="95263"/>
                    <a:pt x="37773" y="95263"/>
                  </a:cubicBezTo>
                  <a:lnTo>
                    <a:pt x="41823" y="95263"/>
                  </a:lnTo>
                  <a:cubicBezTo>
                    <a:pt x="47823" y="95223"/>
                    <a:pt x="52683" y="90387"/>
                    <a:pt x="52720" y="84409"/>
                  </a:cubicBezTo>
                  <a:lnTo>
                    <a:pt x="52720" y="62408"/>
                  </a:lnTo>
                  <a:lnTo>
                    <a:pt x="56328" y="62408"/>
                  </a:lnTo>
                  <a:lnTo>
                    <a:pt x="109121" y="80522"/>
                  </a:lnTo>
                  <a:cubicBezTo>
                    <a:pt x="109585" y="80593"/>
                    <a:pt x="110057" y="80593"/>
                    <a:pt x="110520" y="80522"/>
                  </a:cubicBezTo>
                  <a:cubicBezTo>
                    <a:pt x="111463" y="80516"/>
                    <a:pt x="112383" y="80235"/>
                    <a:pt x="113171" y="79715"/>
                  </a:cubicBezTo>
                  <a:cubicBezTo>
                    <a:pt x="114335" y="78854"/>
                    <a:pt x="115019" y="77493"/>
                    <a:pt x="115012" y="76049"/>
                  </a:cubicBezTo>
                  <a:lnTo>
                    <a:pt x="115012" y="4471"/>
                  </a:lnTo>
                  <a:cubicBezTo>
                    <a:pt x="115041" y="3021"/>
                    <a:pt x="114357" y="1650"/>
                    <a:pt x="113171" y="804"/>
                  </a:cubicBezTo>
                  <a:close/>
                  <a:moveTo>
                    <a:pt x="8909" y="41947"/>
                  </a:moveTo>
                  <a:lnTo>
                    <a:pt x="8909" y="39013"/>
                  </a:lnTo>
                  <a:cubicBezTo>
                    <a:pt x="8909" y="32614"/>
                    <a:pt x="14115" y="27426"/>
                    <a:pt x="20543" y="27426"/>
                  </a:cubicBezTo>
                  <a:lnTo>
                    <a:pt x="52573" y="27426"/>
                  </a:lnTo>
                  <a:lnTo>
                    <a:pt x="52573" y="53681"/>
                  </a:lnTo>
                  <a:lnTo>
                    <a:pt x="20543" y="53681"/>
                  </a:lnTo>
                  <a:cubicBezTo>
                    <a:pt x="14115" y="53681"/>
                    <a:pt x="8909" y="48494"/>
                    <a:pt x="8909" y="42094"/>
                  </a:cubicBezTo>
                  <a:cubicBezTo>
                    <a:pt x="8909" y="42045"/>
                    <a:pt x="8909" y="41996"/>
                    <a:pt x="8909" y="41947"/>
                  </a:cubicBezTo>
                  <a:close/>
                  <a:moveTo>
                    <a:pt x="43737" y="84702"/>
                  </a:moveTo>
                  <a:cubicBezTo>
                    <a:pt x="43737" y="85755"/>
                    <a:pt x="42883" y="86609"/>
                    <a:pt x="41823" y="86609"/>
                  </a:cubicBezTo>
                  <a:lnTo>
                    <a:pt x="37773" y="86609"/>
                  </a:lnTo>
                  <a:cubicBezTo>
                    <a:pt x="36720" y="86649"/>
                    <a:pt x="35829" y="85830"/>
                    <a:pt x="35785" y="84777"/>
                  </a:cubicBezTo>
                  <a:cubicBezTo>
                    <a:pt x="35785" y="84752"/>
                    <a:pt x="35785" y="84727"/>
                    <a:pt x="35785" y="84702"/>
                  </a:cubicBezTo>
                  <a:lnTo>
                    <a:pt x="35785" y="62701"/>
                  </a:lnTo>
                  <a:lnTo>
                    <a:pt x="43737" y="62701"/>
                  </a:lnTo>
                  <a:close/>
                  <a:moveTo>
                    <a:pt x="106103" y="70035"/>
                  </a:moveTo>
                  <a:lnTo>
                    <a:pt x="61556" y="54781"/>
                  </a:lnTo>
                  <a:lnTo>
                    <a:pt x="61556" y="26179"/>
                  </a:lnTo>
                  <a:lnTo>
                    <a:pt x="106103" y="10705"/>
                  </a:lnTo>
                  <a:close/>
                </a:path>
              </a:pathLst>
            </a:custGeom>
            <a:grpFill/>
            <a:ln w="7361" cap="flat">
              <a:solidFill>
                <a:schemeClr val="bg1"/>
              </a:solidFill>
              <a:prstDash val="solid"/>
              <a:miter/>
            </a:ln>
          </p:spPr>
          <p:txBody>
            <a:bodyPr rtlCol="0" anchor="ctr"/>
            <a:lstStyle/>
            <a:p>
              <a:endParaRPr lang="en-US"/>
            </a:p>
          </p:txBody>
        </p:sp>
        <p:sp>
          <p:nvSpPr>
            <p:cNvPr id="41" name="Freeform 350">
              <a:extLst>
                <a:ext uri="{FF2B5EF4-FFF2-40B4-BE49-F238E27FC236}">
                  <a16:creationId xmlns:a16="http://schemas.microsoft.com/office/drawing/2014/main" id="{40F32609-6E02-3D46-A1F1-DA5EDB75FD7C}"/>
                </a:ext>
              </a:extLst>
            </p:cNvPr>
            <p:cNvSpPr/>
            <p:nvPr/>
          </p:nvSpPr>
          <p:spPr>
            <a:xfrm>
              <a:off x="1609943" y="2714235"/>
              <a:ext cx="113760" cy="200521"/>
            </a:xfrm>
            <a:custGeom>
              <a:avLst/>
              <a:gdLst>
                <a:gd name="connsiteX0" fmla="*/ 86149 w 113760"/>
                <a:gd name="connsiteY0" fmla="*/ 0 h 200521"/>
                <a:gd name="connsiteX1" fmla="*/ 27685 w 113760"/>
                <a:gd name="connsiteY1" fmla="*/ 0 h 200521"/>
                <a:gd name="connsiteX2" fmla="*/ 0 w 113760"/>
                <a:gd name="connsiteY2" fmla="*/ 27575 h 200521"/>
                <a:gd name="connsiteX3" fmla="*/ 0 w 113760"/>
                <a:gd name="connsiteY3" fmla="*/ 88665 h 200521"/>
                <a:gd name="connsiteX4" fmla="*/ 15978 w 113760"/>
                <a:gd name="connsiteY4" fmla="*/ 104727 h 200521"/>
                <a:gd name="connsiteX5" fmla="*/ 17598 w 113760"/>
                <a:gd name="connsiteY5" fmla="*/ 104652 h 200521"/>
                <a:gd name="connsiteX6" fmla="*/ 23194 w 113760"/>
                <a:gd name="connsiteY6" fmla="*/ 102966 h 200521"/>
                <a:gd name="connsiteX7" fmla="*/ 23194 w 113760"/>
                <a:gd name="connsiteY7" fmla="*/ 181510 h 200521"/>
                <a:gd name="connsiteX8" fmla="*/ 42250 w 113760"/>
                <a:gd name="connsiteY8" fmla="*/ 200521 h 200521"/>
                <a:gd name="connsiteX9" fmla="*/ 56917 w 113760"/>
                <a:gd name="connsiteY9" fmla="*/ 193684 h 200521"/>
                <a:gd name="connsiteX10" fmla="*/ 83778 w 113760"/>
                <a:gd name="connsiteY10" fmla="*/ 196121 h 200521"/>
                <a:gd name="connsiteX11" fmla="*/ 90640 w 113760"/>
                <a:gd name="connsiteY11" fmla="*/ 181510 h 200521"/>
                <a:gd name="connsiteX12" fmla="*/ 90640 w 113760"/>
                <a:gd name="connsiteY12" fmla="*/ 102966 h 200521"/>
                <a:gd name="connsiteX13" fmla="*/ 96236 w 113760"/>
                <a:gd name="connsiteY13" fmla="*/ 104652 h 200521"/>
                <a:gd name="connsiteX14" fmla="*/ 113694 w 113760"/>
                <a:gd name="connsiteY14" fmla="*/ 90199 h 200521"/>
                <a:gd name="connsiteX15" fmla="*/ 113760 w 113760"/>
                <a:gd name="connsiteY15" fmla="*/ 88665 h 200521"/>
                <a:gd name="connsiteX16" fmla="*/ 113760 w 113760"/>
                <a:gd name="connsiteY16" fmla="*/ 27575 h 200521"/>
                <a:gd name="connsiteX17" fmla="*/ 86149 w 113760"/>
                <a:gd name="connsiteY17" fmla="*/ 0 h 200521"/>
                <a:gd name="connsiteX18" fmla="*/ 104925 w 113760"/>
                <a:gd name="connsiteY18" fmla="*/ 88665 h 200521"/>
                <a:gd name="connsiteX19" fmla="*/ 102568 w 113760"/>
                <a:gd name="connsiteY19" fmla="*/ 93945 h 200521"/>
                <a:gd name="connsiteX20" fmla="*/ 97046 w 113760"/>
                <a:gd name="connsiteY20" fmla="*/ 95779 h 200521"/>
                <a:gd name="connsiteX21" fmla="*/ 90640 w 113760"/>
                <a:gd name="connsiteY21" fmla="*/ 88445 h 200521"/>
                <a:gd name="connsiteX22" fmla="*/ 90640 w 113760"/>
                <a:gd name="connsiteY22" fmla="*/ 88445 h 200521"/>
                <a:gd name="connsiteX23" fmla="*/ 90640 w 113760"/>
                <a:gd name="connsiteY23" fmla="*/ 46203 h 200521"/>
                <a:gd name="connsiteX24" fmla="*/ 86222 w 113760"/>
                <a:gd name="connsiteY24" fmla="*/ 41802 h 200521"/>
                <a:gd name="connsiteX25" fmla="*/ 86149 w 113760"/>
                <a:gd name="connsiteY25" fmla="*/ 41802 h 200521"/>
                <a:gd name="connsiteX26" fmla="*/ 81657 w 113760"/>
                <a:gd name="connsiteY26" fmla="*/ 46203 h 200521"/>
                <a:gd name="connsiteX27" fmla="*/ 81657 w 113760"/>
                <a:gd name="connsiteY27" fmla="*/ 88152 h 200521"/>
                <a:gd name="connsiteX28" fmla="*/ 81657 w 113760"/>
                <a:gd name="connsiteY28" fmla="*/ 88152 h 200521"/>
                <a:gd name="connsiteX29" fmla="*/ 81657 w 113760"/>
                <a:gd name="connsiteY29" fmla="*/ 181510 h 200521"/>
                <a:gd name="connsiteX30" fmla="*/ 71496 w 113760"/>
                <a:gd name="connsiteY30" fmla="*/ 191631 h 200521"/>
                <a:gd name="connsiteX31" fmla="*/ 61335 w 113760"/>
                <a:gd name="connsiteY31" fmla="*/ 181510 h 200521"/>
                <a:gd name="connsiteX32" fmla="*/ 61335 w 113760"/>
                <a:gd name="connsiteY32" fmla="*/ 111033 h 200521"/>
                <a:gd name="connsiteX33" fmla="*/ 56917 w 113760"/>
                <a:gd name="connsiteY33" fmla="*/ 106632 h 200521"/>
                <a:gd name="connsiteX34" fmla="*/ 56843 w 113760"/>
                <a:gd name="connsiteY34" fmla="*/ 106633 h 200521"/>
                <a:gd name="connsiteX35" fmla="*/ 52352 w 113760"/>
                <a:gd name="connsiteY35" fmla="*/ 111033 h 200521"/>
                <a:gd name="connsiteX36" fmla="*/ 52352 w 113760"/>
                <a:gd name="connsiteY36" fmla="*/ 181510 h 200521"/>
                <a:gd name="connsiteX37" fmla="*/ 43089 w 113760"/>
                <a:gd name="connsiteY37" fmla="*/ 192455 h 200521"/>
                <a:gd name="connsiteX38" fmla="*/ 32103 w 113760"/>
                <a:gd name="connsiteY38" fmla="*/ 183231 h 200521"/>
                <a:gd name="connsiteX39" fmla="*/ 32103 w 113760"/>
                <a:gd name="connsiteY39" fmla="*/ 181510 h 200521"/>
                <a:gd name="connsiteX40" fmla="*/ 32103 w 113760"/>
                <a:gd name="connsiteY40" fmla="*/ 46203 h 200521"/>
                <a:gd name="connsiteX41" fmla="*/ 27612 w 113760"/>
                <a:gd name="connsiteY41" fmla="*/ 41802 h 200521"/>
                <a:gd name="connsiteX42" fmla="*/ 23120 w 113760"/>
                <a:gd name="connsiteY42" fmla="*/ 46129 h 200521"/>
                <a:gd name="connsiteX43" fmla="*/ 23120 w 113760"/>
                <a:gd name="connsiteY43" fmla="*/ 46203 h 200521"/>
                <a:gd name="connsiteX44" fmla="*/ 23120 w 113760"/>
                <a:gd name="connsiteY44" fmla="*/ 88152 h 200521"/>
                <a:gd name="connsiteX45" fmla="*/ 16714 w 113760"/>
                <a:gd name="connsiteY45" fmla="*/ 95485 h 200521"/>
                <a:gd name="connsiteX46" fmla="*/ 11192 w 113760"/>
                <a:gd name="connsiteY46" fmla="*/ 93652 h 200521"/>
                <a:gd name="connsiteX47" fmla="*/ 8836 w 113760"/>
                <a:gd name="connsiteY47" fmla="*/ 88372 h 200521"/>
                <a:gd name="connsiteX48" fmla="*/ 8836 w 113760"/>
                <a:gd name="connsiteY48" fmla="*/ 27575 h 200521"/>
                <a:gd name="connsiteX49" fmla="*/ 27612 w 113760"/>
                <a:gd name="connsiteY49" fmla="*/ 8874 h 200521"/>
                <a:gd name="connsiteX50" fmla="*/ 86075 w 113760"/>
                <a:gd name="connsiteY50" fmla="*/ 8874 h 200521"/>
                <a:gd name="connsiteX51" fmla="*/ 104851 w 113760"/>
                <a:gd name="connsiteY51" fmla="*/ 27575 h 20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3760" h="200521">
                  <a:moveTo>
                    <a:pt x="86149" y="0"/>
                  </a:moveTo>
                  <a:lnTo>
                    <a:pt x="27685" y="0"/>
                  </a:lnTo>
                  <a:cubicBezTo>
                    <a:pt x="12392" y="0"/>
                    <a:pt x="0" y="12346"/>
                    <a:pt x="0" y="27575"/>
                  </a:cubicBezTo>
                  <a:lnTo>
                    <a:pt x="0" y="88665"/>
                  </a:lnTo>
                  <a:cubicBezTo>
                    <a:pt x="-44" y="97495"/>
                    <a:pt x="7113" y="104686"/>
                    <a:pt x="15978" y="104727"/>
                  </a:cubicBezTo>
                  <a:cubicBezTo>
                    <a:pt x="16516" y="104730"/>
                    <a:pt x="17061" y="104705"/>
                    <a:pt x="17598" y="104652"/>
                  </a:cubicBezTo>
                  <a:cubicBezTo>
                    <a:pt x="19549" y="104438"/>
                    <a:pt x="21449" y="103866"/>
                    <a:pt x="23194" y="102966"/>
                  </a:cubicBezTo>
                  <a:lnTo>
                    <a:pt x="23194" y="181510"/>
                  </a:lnTo>
                  <a:cubicBezTo>
                    <a:pt x="23187" y="192000"/>
                    <a:pt x="31713" y="200512"/>
                    <a:pt x="42250" y="200521"/>
                  </a:cubicBezTo>
                  <a:cubicBezTo>
                    <a:pt x="47912" y="200527"/>
                    <a:pt x="53287" y="198021"/>
                    <a:pt x="56917" y="193684"/>
                  </a:cubicBezTo>
                  <a:cubicBezTo>
                    <a:pt x="63662" y="201745"/>
                    <a:pt x="75686" y="202835"/>
                    <a:pt x="83778" y="196121"/>
                  </a:cubicBezTo>
                  <a:cubicBezTo>
                    <a:pt x="88129" y="192509"/>
                    <a:pt x="90648" y="187154"/>
                    <a:pt x="90640" y="181510"/>
                  </a:cubicBezTo>
                  <a:lnTo>
                    <a:pt x="90640" y="102966"/>
                  </a:lnTo>
                  <a:cubicBezTo>
                    <a:pt x="92385" y="103866"/>
                    <a:pt x="94285" y="104438"/>
                    <a:pt x="96236" y="104652"/>
                  </a:cubicBezTo>
                  <a:cubicBezTo>
                    <a:pt x="105065" y="105463"/>
                    <a:pt x="112877" y="98992"/>
                    <a:pt x="113694" y="90199"/>
                  </a:cubicBezTo>
                  <a:cubicBezTo>
                    <a:pt x="113738" y="89689"/>
                    <a:pt x="113760" y="89177"/>
                    <a:pt x="113760" y="88665"/>
                  </a:cubicBezTo>
                  <a:lnTo>
                    <a:pt x="113760" y="27575"/>
                  </a:lnTo>
                  <a:cubicBezTo>
                    <a:pt x="113760" y="12374"/>
                    <a:pt x="101412" y="40"/>
                    <a:pt x="86149" y="0"/>
                  </a:cubicBezTo>
                  <a:close/>
                  <a:moveTo>
                    <a:pt x="104925" y="88665"/>
                  </a:moveTo>
                  <a:cubicBezTo>
                    <a:pt x="104895" y="90672"/>
                    <a:pt x="104048" y="92580"/>
                    <a:pt x="102568" y="93945"/>
                  </a:cubicBezTo>
                  <a:cubicBezTo>
                    <a:pt x="101059" y="95286"/>
                    <a:pt x="99064" y="95949"/>
                    <a:pt x="97046" y="95779"/>
                  </a:cubicBezTo>
                  <a:cubicBezTo>
                    <a:pt x="93357" y="95297"/>
                    <a:pt x="90611" y="92151"/>
                    <a:pt x="90640" y="88445"/>
                  </a:cubicBezTo>
                  <a:lnTo>
                    <a:pt x="90640" y="88445"/>
                  </a:lnTo>
                  <a:lnTo>
                    <a:pt x="90640" y="46203"/>
                  </a:lnTo>
                  <a:cubicBezTo>
                    <a:pt x="90640" y="43772"/>
                    <a:pt x="88660" y="41802"/>
                    <a:pt x="86222" y="41802"/>
                  </a:cubicBezTo>
                  <a:cubicBezTo>
                    <a:pt x="86200" y="41802"/>
                    <a:pt x="86171" y="41802"/>
                    <a:pt x="86149" y="41802"/>
                  </a:cubicBezTo>
                  <a:cubicBezTo>
                    <a:pt x="83697" y="41802"/>
                    <a:pt x="81694" y="43760"/>
                    <a:pt x="81657" y="46203"/>
                  </a:cubicBezTo>
                  <a:lnTo>
                    <a:pt x="81657" y="88152"/>
                  </a:lnTo>
                  <a:lnTo>
                    <a:pt x="81657" y="88152"/>
                  </a:lnTo>
                  <a:lnTo>
                    <a:pt x="81657" y="181510"/>
                  </a:lnTo>
                  <a:cubicBezTo>
                    <a:pt x="81657" y="187100"/>
                    <a:pt x="77107" y="191631"/>
                    <a:pt x="71496" y="191631"/>
                  </a:cubicBezTo>
                  <a:cubicBezTo>
                    <a:pt x="65885" y="191631"/>
                    <a:pt x="61335" y="187100"/>
                    <a:pt x="61335" y="181510"/>
                  </a:cubicBezTo>
                  <a:lnTo>
                    <a:pt x="61335" y="111033"/>
                  </a:lnTo>
                  <a:cubicBezTo>
                    <a:pt x="61335" y="108602"/>
                    <a:pt x="59354" y="106633"/>
                    <a:pt x="56917" y="106632"/>
                  </a:cubicBezTo>
                  <a:cubicBezTo>
                    <a:pt x="56895" y="106632"/>
                    <a:pt x="56866" y="106632"/>
                    <a:pt x="56843" y="106633"/>
                  </a:cubicBezTo>
                  <a:cubicBezTo>
                    <a:pt x="54392" y="106633"/>
                    <a:pt x="52389" y="108591"/>
                    <a:pt x="52352" y="111033"/>
                  </a:cubicBezTo>
                  <a:lnTo>
                    <a:pt x="52352" y="181510"/>
                  </a:lnTo>
                  <a:cubicBezTo>
                    <a:pt x="52831" y="187079"/>
                    <a:pt x="48685" y="191979"/>
                    <a:pt x="43089" y="192455"/>
                  </a:cubicBezTo>
                  <a:cubicBezTo>
                    <a:pt x="37501" y="192930"/>
                    <a:pt x="32582" y="188801"/>
                    <a:pt x="32103" y="183231"/>
                  </a:cubicBezTo>
                  <a:cubicBezTo>
                    <a:pt x="32052" y="182659"/>
                    <a:pt x="32052" y="182083"/>
                    <a:pt x="32103" y="181510"/>
                  </a:cubicBezTo>
                  <a:lnTo>
                    <a:pt x="32103" y="46203"/>
                  </a:lnTo>
                  <a:cubicBezTo>
                    <a:pt x="32067" y="43760"/>
                    <a:pt x="30064" y="41802"/>
                    <a:pt x="27612" y="41802"/>
                  </a:cubicBezTo>
                  <a:cubicBezTo>
                    <a:pt x="25175" y="41762"/>
                    <a:pt x="23165" y="43699"/>
                    <a:pt x="23120" y="46129"/>
                  </a:cubicBezTo>
                  <a:cubicBezTo>
                    <a:pt x="23120" y="46153"/>
                    <a:pt x="23120" y="46178"/>
                    <a:pt x="23120" y="46203"/>
                  </a:cubicBezTo>
                  <a:lnTo>
                    <a:pt x="23120" y="88152"/>
                  </a:lnTo>
                  <a:cubicBezTo>
                    <a:pt x="23150" y="91857"/>
                    <a:pt x="20403" y="95004"/>
                    <a:pt x="16714" y="95485"/>
                  </a:cubicBezTo>
                  <a:cubicBezTo>
                    <a:pt x="14690" y="95723"/>
                    <a:pt x="12665" y="95050"/>
                    <a:pt x="11192" y="93652"/>
                  </a:cubicBezTo>
                  <a:cubicBezTo>
                    <a:pt x="9712" y="92287"/>
                    <a:pt x="8865" y="90379"/>
                    <a:pt x="8836" y="88372"/>
                  </a:cubicBezTo>
                  <a:lnTo>
                    <a:pt x="8836" y="27575"/>
                  </a:lnTo>
                  <a:cubicBezTo>
                    <a:pt x="8836" y="17247"/>
                    <a:pt x="17245" y="8874"/>
                    <a:pt x="27612" y="8874"/>
                  </a:cubicBezTo>
                  <a:lnTo>
                    <a:pt x="86075" y="8874"/>
                  </a:lnTo>
                  <a:cubicBezTo>
                    <a:pt x="96442" y="8874"/>
                    <a:pt x="104851" y="17247"/>
                    <a:pt x="104851" y="27575"/>
                  </a:cubicBezTo>
                  <a:close/>
                </a:path>
              </a:pathLst>
            </a:custGeom>
            <a:grpFill/>
            <a:ln w="7361" cap="flat">
              <a:solidFill>
                <a:schemeClr val="bg1"/>
              </a:solidFill>
              <a:prstDash val="solid"/>
              <a:miter/>
            </a:ln>
          </p:spPr>
          <p:txBody>
            <a:bodyPr rtlCol="0" anchor="ctr"/>
            <a:lstStyle/>
            <a:p>
              <a:endParaRPr lang="en-US"/>
            </a:p>
          </p:txBody>
        </p:sp>
        <p:sp>
          <p:nvSpPr>
            <p:cNvPr id="43" name="Freeform 351">
              <a:extLst>
                <a:ext uri="{FF2B5EF4-FFF2-40B4-BE49-F238E27FC236}">
                  <a16:creationId xmlns:a16="http://schemas.microsoft.com/office/drawing/2014/main" id="{695BAF62-BE55-154C-8866-C027A1239774}"/>
                </a:ext>
              </a:extLst>
            </p:cNvPr>
            <p:cNvSpPr/>
            <p:nvPr/>
          </p:nvSpPr>
          <p:spPr>
            <a:xfrm>
              <a:off x="1642709" y="2659232"/>
              <a:ext cx="48302" cy="48109"/>
            </a:xfrm>
            <a:custGeom>
              <a:avLst/>
              <a:gdLst>
                <a:gd name="connsiteX0" fmla="*/ 24151 w 48302"/>
                <a:gd name="connsiteY0" fmla="*/ 48109 h 48109"/>
                <a:gd name="connsiteX1" fmla="*/ 48302 w 48302"/>
                <a:gd name="connsiteY1" fmla="*/ 24055 h 48109"/>
                <a:gd name="connsiteX2" fmla="*/ 24151 w 48302"/>
                <a:gd name="connsiteY2" fmla="*/ 0 h 48109"/>
                <a:gd name="connsiteX3" fmla="*/ 0 w 48302"/>
                <a:gd name="connsiteY3" fmla="*/ 24055 h 48109"/>
                <a:gd name="connsiteX4" fmla="*/ 0 w 48302"/>
                <a:gd name="connsiteY4" fmla="*/ 24128 h 48109"/>
                <a:gd name="connsiteX5" fmla="*/ 24077 w 48302"/>
                <a:gd name="connsiteY5" fmla="*/ 48109 h 48109"/>
                <a:gd name="connsiteX6" fmla="*/ 24151 w 48302"/>
                <a:gd name="connsiteY6" fmla="*/ 48109 h 48109"/>
                <a:gd name="connsiteX7" fmla="*/ 24151 w 48302"/>
                <a:gd name="connsiteY7" fmla="*/ 9021 h 48109"/>
                <a:gd name="connsiteX8" fmla="*/ 39319 w 48302"/>
                <a:gd name="connsiteY8" fmla="*/ 24128 h 48109"/>
                <a:gd name="connsiteX9" fmla="*/ 24151 w 48302"/>
                <a:gd name="connsiteY9" fmla="*/ 39236 h 48109"/>
                <a:gd name="connsiteX10" fmla="*/ 8983 w 48302"/>
                <a:gd name="connsiteY10" fmla="*/ 24128 h 48109"/>
                <a:gd name="connsiteX11" fmla="*/ 24151 w 48302"/>
                <a:gd name="connsiteY11" fmla="*/ 9021 h 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2" h="48109">
                  <a:moveTo>
                    <a:pt x="24151" y="48109"/>
                  </a:moveTo>
                  <a:cubicBezTo>
                    <a:pt x="37486" y="48109"/>
                    <a:pt x="48302" y="37340"/>
                    <a:pt x="48302" y="24055"/>
                  </a:cubicBezTo>
                  <a:cubicBezTo>
                    <a:pt x="48302" y="10770"/>
                    <a:pt x="37486" y="0"/>
                    <a:pt x="24151" y="0"/>
                  </a:cubicBezTo>
                  <a:cubicBezTo>
                    <a:pt x="10809" y="0"/>
                    <a:pt x="0" y="10770"/>
                    <a:pt x="0" y="24055"/>
                  </a:cubicBezTo>
                  <a:cubicBezTo>
                    <a:pt x="0" y="24079"/>
                    <a:pt x="0" y="24104"/>
                    <a:pt x="0" y="24128"/>
                  </a:cubicBezTo>
                  <a:cubicBezTo>
                    <a:pt x="0" y="37373"/>
                    <a:pt x="10780" y="48109"/>
                    <a:pt x="24077" y="48109"/>
                  </a:cubicBezTo>
                  <a:cubicBezTo>
                    <a:pt x="24100" y="48109"/>
                    <a:pt x="24129" y="48109"/>
                    <a:pt x="24151" y="48109"/>
                  </a:cubicBezTo>
                  <a:close/>
                  <a:moveTo>
                    <a:pt x="24151" y="9021"/>
                  </a:moveTo>
                  <a:cubicBezTo>
                    <a:pt x="32530" y="9021"/>
                    <a:pt x="39319" y="15784"/>
                    <a:pt x="39319" y="24128"/>
                  </a:cubicBezTo>
                  <a:cubicBezTo>
                    <a:pt x="39319" y="32472"/>
                    <a:pt x="32530" y="39236"/>
                    <a:pt x="24151" y="39236"/>
                  </a:cubicBezTo>
                  <a:cubicBezTo>
                    <a:pt x="15772" y="39236"/>
                    <a:pt x="8983" y="32472"/>
                    <a:pt x="8983" y="24128"/>
                  </a:cubicBezTo>
                  <a:cubicBezTo>
                    <a:pt x="8983" y="15784"/>
                    <a:pt x="15772" y="9021"/>
                    <a:pt x="24151" y="9021"/>
                  </a:cubicBezTo>
                  <a:close/>
                </a:path>
              </a:pathLst>
            </a:custGeom>
            <a:grpFill/>
            <a:ln w="7361" cap="flat">
              <a:solidFill>
                <a:schemeClr val="bg1"/>
              </a:solidFill>
              <a:prstDash val="solid"/>
              <a:miter/>
            </a:ln>
          </p:spPr>
          <p:txBody>
            <a:bodyPr rtlCol="0" anchor="ctr"/>
            <a:lstStyle/>
            <a:p>
              <a:endParaRPr lang="en-US"/>
            </a:p>
          </p:txBody>
        </p:sp>
      </p:grpSp>
      <p:grpSp>
        <p:nvGrpSpPr>
          <p:cNvPr id="44" name="Group 348">
            <a:extLst>
              <a:ext uri="{FF2B5EF4-FFF2-40B4-BE49-F238E27FC236}">
                <a16:creationId xmlns:a16="http://schemas.microsoft.com/office/drawing/2014/main" id="{E7311D6C-0BB8-514E-B268-D1F6A3690034}"/>
              </a:ext>
            </a:extLst>
          </p:cNvPr>
          <p:cNvGrpSpPr>
            <a:grpSpLocks noChangeAspect="1"/>
          </p:cNvGrpSpPr>
          <p:nvPr/>
        </p:nvGrpSpPr>
        <p:grpSpPr>
          <a:xfrm>
            <a:off x="565129" y="3845864"/>
            <a:ext cx="551266" cy="648000"/>
            <a:chOff x="1609943" y="2649994"/>
            <a:chExt cx="225238" cy="264762"/>
          </a:xfrm>
          <a:solidFill>
            <a:schemeClr val="bg1"/>
          </a:solidFill>
        </p:grpSpPr>
        <p:sp>
          <p:nvSpPr>
            <p:cNvPr id="47" name="Freeform 349">
              <a:extLst>
                <a:ext uri="{FF2B5EF4-FFF2-40B4-BE49-F238E27FC236}">
                  <a16:creationId xmlns:a16="http://schemas.microsoft.com/office/drawing/2014/main" id="{557FA530-2663-DD40-A645-B3DC1C1FF7A4}"/>
                </a:ext>
              </a:extLst>
            </p:cNvPr>
            <p:cNvSpPr/>
            <p:nvPr/>
          </p:nvSpPr>
          <p:spPr>
            <a:xfrm>
              <a:off x="1720169" y="2649994"/>
              <a:ext cx="115012" cy="95262"/>
            </a:xfrm>
            <a:custGeom>
              <a:avLst/>
              <a:gdLst>
                <a:gd name="connsiteX0" fmla="*/ 113171 w 115012"/>
                <a:gd name="connsiteY0" fmla="*/ 804 h 95262"/>
                <a:gd name="connsiteX1" fmla="*/ 109048 w 115012"/>
                <a:gd name="connsiteY1" fmla="*/ 218 h 95262"/>
                <a:gd name="connsiteX2" fmla="*/ 56254 w 115012"/>
                <a:gd name="connsiteY2" fmla="*/ 18552 h 95262"/>
                <a:gd name="connsiteX3" fmla="*/ 20543 w 115012"/>
                <a:gd name="connsiteY3" fmla="*/ 18552 h 95262"/>
                <a:gd name="connsiteX4" fmla="*/ 0 w 115012"/>
                <a:gd name="connsiteY4" fmla="*/ 39013 h 95262"/>
                <a:gd name="connsiteX5" fmla="*/ 0 w 115012"/>
                <a:gd name="connsiteY5" fmla="*/ 41947 h 95262"/>
                <a:gd name="connsiteX6" fmla="*/ 20543 w 115012"/>
                <a:gd name="connsiteY6" fmla="*/ 62408 h 95262"/>
                <a:gd name="connsiteX7" fmla="*/ 26875 w 115012"/>
                <a:gd name="connsiteY7" fmla="*/ 62408 h 95262"/>
                <a:gd name="connsiteX8" fmla="*/ 26875 w 115012"/>
                <a:gd name="connsiteY8" fmla="*/ 84409 h 95262"/>
                <a:gd name="connsiteX9" fmla="*/ 37773 w 115012"/>
                <a:gd name="connsiteY9" fmla="*/ 95263 h 95262"/>
                <a:gd name="connsiteX10" fmla="*/ 41823 w 115012"/>
                <a:gd name="connsiteY10" fmla="*/ 95263 h 95262"/>
                <a:gd name="connsiteX11" fmla="*/ 52720 w 115012"/>
                <a:gd name="connsiteY11" fmla="*/ 84409 h 95262"/>
                <a:gd name="connsiteX12" fmla="*/ 52720 w 115012"/>
                <a:gd name="connsiteY12" fmla="*/ 62408 h 95262"/>
                <a:gd name="connsiteX13" fmla="*/ 56328 w 115012"/>
                <a:gd name="connsiteY13" fmla="*/ 62408 h 95262"/>
                <a:gd name="connsiteX14" fmla="*/ 109121 w 115012"/>
                <a:gd name="connsiteY14" fmla="*/ 80522 h 95262"/>
                <a:gd name="connsiteX15" fmla="*/ 110520 w 115012"/>
                <a:gd name="connsiteY15" fmla="*/ 80522 h 95262"/>
                <a:gd name="connsiteX16" fmla="*/ 113171 w 115012"/>
                <a:gd name="connsiteY16" fmla="*/ 79715 h 95262"/>
                <a:gd name="connsiteX17" fmla="*/ 115012 w 115012"/>
                <a:gd name="connsiteY17" fmla="*/ 76049 h 95262"/>
                <a:gd name="connsiteX18" fmla="*/ 115012 w 115012"/>
                <a:gd name="connsiteY18" fmla="*/ 4471 h 95262"/>
                <a:gd name="connsiteX19" fmla="*/ 113171 w 115012"/>
                <a:gd name="connsiteY19" fmla="*/ 804 h 95262"/>
                <a:gd name="connsiteX20" fmla="*/ 8909 w 115012"/>
                <a:gd name="connsiteY20" fmla="*/ 41947 h 95262"/>
                <a:gd name="connsiteX21" fmla="*/ 8909 w 115012"/>
                <a:gd name="connsiteY21" fmla="*/ 39013 h 95262"/>
                <a:gd name="connsiteX22" fmla="*/ 20543 w 115012"/>
                <a:gd name="connsiteY22" fmla="*/ 27426 h 95262"/>
                <a:gd name="connsiteX23" fmla="*/ 52573 w 115012"/>
                <a:gd name="connsiteY23" fmla="*/ 27426 h 95262"/>
                <a:gd name="connsiteX24" fmla="*/ 52573 w 115012"/>
                <a:gd name="connsiteY24" fmla="*/ 53681 h 95262"/>
                <a:gd name="connsiteX25" fmla="*/ 20543 w 115012"/>
                <a:gd name="connsiteY25" fmla="*/ 53681 h 95262"/>
                <a:gd name="connsiteX26" fmla="*/ 8909 w 115012"/>
                <a:gd name="connsiteY26" fmla="*/ 42094 h 95262"/>
                <a:gd name="connsiteX27" fmla="*/ 8909 w 115012"/>
                <a:gd name="connsiteY27" fmla="*/ 41947 h 95262"/>
                <a:gd name="connsiteX28" fmla="*/ 43737 w 115012"/>
                <a:gd name="connsiteY28" fmla="*/ 84702 h 95262"/>
                <a:gd name="connsiteX29" fmla="*/ 41823 w 115012"/>
                <a:gd name="connsiteY29" fmla="*/ 86609 h 95262"/>
                <a:gd name="connsiteX30" fmla="*/ 37773 w 115012"/>
                <a:gd name="connsiteY30" fmla="*/ 86609 h 95262"/>
                <a:gd name="connsiteX31" fmla="*/ 35785 w 115012"/>
                <a:gd name="connsiteY31" fmla="*/ 84777 h 95262"/>
                <a:gd name="connsiteX32" fmla="*/ 35785 w 115012"/>
                <a:gd name="connsiteY32" fmla="*/ 84702 h 95262"/>
                <a:gd name="connsiteX33" fmla="*/ 35785 w 115012"/>
                <a:gd name="connsiteY33" fmla="*/ 62701 h 95262"/>
                <a:gd name="connsiteX34" fmla="*/ 43737 w 115012"/>
                <a:gd name="connsiteY34" fmla="*/ 62701 h 95262"/>
                <a:gd name="connsiteX35" fmla="*/ 106103 w 115012"/>
                <a:gd name="connsiteY35" fmla="*/ 70035 h 95262"/>
                <a:gd name="connsiteX36" fmla="*/ 61556 w 115012"/>
                <a:gd name="connsiteY36" fmla="*/ 54781 h 95262"/>
                <a:gd name="connsiteX37" fmla="*/ 61556 w 115012"/>
                <a:gd name="connsiteY37" fmla="*/ 26179 h 95262"/>
                <a:gd name="connsiteX38" fmla="*/ 106103 w 115012"/>
                <a:gd name="connsiteY38" fmla="*/ 10705 h 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5012" h="95262">
                  <a:moveTo>
                    <a:pt x="113171" y="804"/>
                  </a:moveTo>
                  <a:cubicBezTo>
                    <a:pt x="111956" y="2"/>
                    <a:pt x="110439" y="-213"/>
                    <a:pt x="109048" y="218"/>
                  </a:cubicBezTo>
                  <a:lnTo>
                    <a:pt x="56254" y="18552"/>
                  </a:lnTo>
                  <a:lnTo>
                    <a:pt x="20543" y="18552"/>
                  </a:lnTo>
                  <a:cubicBezTo>
                    <a:pt x="9211" y="18592"/>
                    <a:pt x="37" y="27729"/>
                    <a:pt x="0" y="39013"/>
                  </a:cubicBezTo>
                  <a:lnTo>
                    <a:pt x="0" y="41947"/>
                  </a:lnTo>
                  <a:cubicBezTo>
                    <a:pt x="0" y="53247"/>
                    <a:pt x="9197" y="62408"/>
                    <a:pt x="20543" y="62408"/>
                  </a:cubicBezTo>
                  <a:lnTo>
                    <a:pt x="26875" y="62408"/>
                  </a:lnTo>
                  <a:lnTo>
                    <a:pt x="26875" y="84409"/>
                  </a:lnTo>
                  <a:cubicBezTo>
                    <a:pt x="26875" y="90404"/>
                    <a:pt x="31757" y="95263"/>
                    <a:pt x="37773" y="95263"/>
                  </a:cubicBezTo>
                  <a:lnTo>
                    <a:pt x="41823" y="95263"/>
                  </a:lnTo>
                  <a:cubicBezTo>
                    <a:pt x="47823" y="95223"/>
                    <a:pt x="52683" y="90387"/>
                    <a:pt x="52720" y="84409"/>
                  </a:cubicBezTo>
                  <a:lnTo>
                    <a:pt x="52720" y="62408"/>
                  </a:lnTo>
                  <a:lnTo>
                    <a:pt x="56328" y="62408"/>
                  </a:lnTo>
                  <a:lnTo>
                    <a:pt x="109121" y="80522"/>
                  </a:lnTo>
                  <a:cubicBezTo>
                    <a:pt x="109585" y="80593"/>
                    <a:pt x="110057" y="80593"/>
                    <a:pt x="110520" y="80522"/>
                  </a:cubicBezTo>
                  <a:cubicBezTo>
                    <a:pt x="111463" y="80516"/>
                    <a:pt x="112383" y="80235"/>
                    <a:pt x="113171" y="79715"/>
                  </a:cubicBezTo>
                  <a:cubicBezTo>
                    <a:pt x="114335" y="78854"/>
                    <a:pt x="115019" y="77493"/>
                    <a:pt x="115012" y="76049"/>
                  </a:cubicBezTo>
                  <a:lnTo>
                    <a:pt x="115012" y="4471"/>
                  </a:lnTo>
                  <a:cubicBezTo>
                    <a:pt x="115041" y="3021"/>
                    <a:pt x="114357" y="1650"/>
                    <a:pt x="113171" y="804"/>
                  </a:cubicBezTo>
                  <a:close/>
                  <a:moveTo>
                    <a:pt x="8909" y="41947"/>
                  </a:moveTo>
                  <a:lnTo>
                    <a:pt x="8909" y="39013"/>
                  </a:lnTo>
                  <a:cubicBezTo>
                    <a:pt x="8909" y="32614"/>
                    <a:pt x="14115" y="27426"/>
                    <a:pt x="20543" y="27426"/>
                  </a:cubicBezTo>
                  <a:lnTo>
                    <a:pt x="52573" y="27426"/>
                  </a:lnTo>
                  <a:lnTo>
                    <a:pt x="52573" y="53681"/>
                  </a:lnTo>
                  <a:lnTo>
                    <a:pt x="20543" y="53681"/>
                  </a:lnTo>
                  <a:cubicBezTo>
                    <a:pt x="14115" y="53681"/>
                    <a:pt x="8909" y="48494"/>
                    <a:pt x="8909" y="42094"/>
                  </a:cubicBezTo>
                  <a:cubicBezTo>
                    <a:pt x="8909" y="42045"/>
                    <a:pt x="8909" y="41996"/>
                    <a:pt x="8909" y="41947"/>
                  </a:cubicBezTo>
                  <a:close/>
                  <a:moveTo>
                    <a:pt x="43737" y="84702"/>
                  </a:moveTo>
                  <a:cubicBezTo>
                    <a:pt x="43737" y="85755"/>
                    <a:pt x="42883" y="86609"/>
                    <a:pt x="41823" y="86609"/>
                  </a:cubicBezTo>
                  <a:lnTo>
                    <a:pt x="37773" y="86609"/>
                  </a:lnTo>
                  <a:cubicBezTo>
                    <a:pt x="36720" y="86649"/>
                    <a:pt x="35829" y="85830"/>
                    <a:pt x="35785" y="84777"/>
                  </a:cubicBezTo>
                  <a:cubicBezTo>
                    <a:pt x="35785" y="84752"/>
                    <a:pt x="35785" y="84727"/>
                    <a:pt x="35785" y="84702"/>
                  </a:cubicBezTo>
                  <a:lnTo>
                    <a:pt x="35785" y="62701"/>
                  </a:lnTo>
                  <a:lnTo>
                    <a:pt x="43737" y="62701"/>
                  </a:lnTo>
                  <a:close/>
                  <a:moveTo>
                    <a:pt x="106103" y="70035"/>
                  </a:moveTo>
                  <a:lnTo>
                    <a:pt x="61556" y="54781"/>
                  </a:lnTo>
                  <a:lnTo>
                    <a:pt x="61556" y="26179"/>
                  </a:lnTo>
                  <a:lnTo>
                    <a:pt x="106103" y="10705"/>
                  </a:lnTo>
                  <a:close/>
                </a:path>
              </a:pathLst>
            </a:custGeom>
            <a:grpFill/>
            <a:ln w="7361" cap="flat">
              <a:solidFill>
                <a:schemeClr val="bg1"/>
              </a:solidFill>
              <a:prstDash val="solid"/>
              <a:miter/>
            </a:ln>
          </p:spPr>
          <p:txBody>
            <a:bodyPr rtlCol="0" anchor="ctr"/>
            <a:lstStyle/>
            <a:p>
              <a:endParaRPr lang="en-US"/>
            </a:p>
          </p:txBody>
        </p:sp>
        <p:sp>
          <p:nvSpPr>
            <p:cNvPr id="48" name="Freeform 350">
              <a:extLst>
                <a:ext uri="{FF2B5EF4-FFF2-40B4-BE49-F238E27FC236}">
                  <a16:creationId xmlns:a16="http://schemas.microsoft.com/office/drawing/2014/main" id="{40F32609-6E02-3D46-A1F1-DA5EDB75FD7C}"/>
                </a:ext>
              </a:extLst>
            </p:cNvPr>
            <p:cNvSpPr/>
            <p:nvPr/>
          </p:nvSpPr>
          <p:spPr>
            <a:xfrm>
              <a:off x="1609943" y="2714235"/>
              <a:ext cx="113760" cy="200521"/>
            </a:xfrm>
            <a:custGeom>
              <a:avLst/>
              <a:gdLst>
                <a:gd name="connsiteX0" fmla="*/ 86149 w 113760"/>
                <a:gd name="connsiteY0" fmla="*/ 0 h 200521"/>
                <a:gd name="connsiteX1" fmla="*/ 27685 w 113760"/>
                <a:gd name="connsiteY1" fmla="*/ 0 h 200521"/>
                <a:gd name="connsiteX2" fmla="*/ 0 w 113760"/>
                <a:gd name="connsiteY2" fmla="*/ 27575 h 200521"/>
                <a:gd name="connsiteX3" fmla="*/ 0 w 113760"/>
                <a:gd name="connsiteY3" fmla="*/ 88665 h 200521"/>
                <a:gd name="connsiteX4" fmla="*/ 15978 w 113760"/>
                <a:gd name="connsiteY4" fmla="*/ 104727 h 200521"/>
                <a:gd name="connsiteX5" fmla="*/ 17598 w 113760"/>
                <a:gd name="connsiteY5" fmla="*/ 104652 h 200521"/>
                <a:gd name="connsiteX6" fmla="*/ 23194 w 113760"/>
                <a:gd name="connsiteY6" fmla="*/ 102966 h 200521"/>
                <a:gd name="connsiteX7" fmla="*/ 23194 w 113760"/>
                <a:gd name="connsiteY7" fmla="*/ 181510 h 200521"/>
                <a:gd name="connsiteX8" fmla="*/ 42250 w 113760"/>
                <a:gd name="connsiteY8" fmla="*/ 200521 h 200521"/>
                <a:gd name="connsiteX9" fmla="*/ 56917 w 113760"/>
                <a:gd name="connsiteY9" fmla="*/ 193684 h 200521"/>
                <a:gd name="connsiteX10" fmla="*/ 83778 w 113760"/>
                <a:gd name="connsiteY10" fmla="*/ 196121 h 200521"/>
                <a:gd name="connsiteX11" fmla="*/ 90640 w 113760"/>
                <a:gd name="connsiteY11" fmla="*/ 181510 h 200521"/>
                <a:gd name="connsiteX12" fmla="*/ 90640 w 113760"/>
                <a:gd name="connsiteY12" fmla="*/ 102966 h 200521"/>
                <a:gd name="connsiteX13" fmla="*/ 96236 w 113760"/>
                <a:gd name="connsiteY13" fmla="*/ 104652 h 200521"/>
                <a:gd name="connsiteX14" fmla="*/ 113694 w 113760"/>
                <a:gd name="connsiteY14" fmla="*/ 90199 h 200521"/>
                <a:gd name="connsiteX15" fmla="*/ 113760 w 113760"/>
                <a:gd name="connsiteY15" fmla="*/ 88665 h 200521"/>
                <a:gd name="connsiteX16" fmla="*/ 113760 w 113760"/>
                <a:gd name="connsiteY16" fmla="*/ 27575 h 200521"/>
                <a:gd name="connsiteX17" fmla="*/ 86149 w 113760"/>
                <a:gd name="connsiteY17" fmla="*/ 0 h 200521"/>
                <a:gd name="connsiteX18" fmla="*/ 104925 w 113760"/>
                <a:gd name="connsiteY18" fmla="*/ 88665 h 200521"/>
                <a:gd name="connsiteX19" fmla="*/ 102568 w 113760"/>
                <a:gd name="connsiteY19" fmla="*/ 93945 h 200521"/>
                <a:gd name="connsiteX20" fmla="*/ 97046 w 113760"/>
                <a:gd name="connsiteY20" fmla="*/ 95779 h 200521"/>
                <a:gd name="connsiteX21" fmla="*/ 90640 w 113760"/>
                <a:gd name="connsiteY21" fmla="*/ 88445 h 200521"/>
                <a:gd name="connsiteX22" fmla="*/ 90640 w 113760"/>
                <a:gd name="connsiteY22" fmla="*/ 88445 h 200521"/>
                <a:gd name="connsiteX23" fmla="*/ 90640 w 113760"/>
                <a:gd name="connsiteY23" fmla="*/ 46203 h 200521"/>
                <a:gd name="connsiteX24" fmla="*/ 86222 w 113760"/>
                <a:gd name="connsiteY24" fmla="*/ 41802 h 200521"/>
                <a:gd name="connsiteX25" fmla="*/ 86149 w 113760"/>
                <a:gd name="connsiteY25" fmla="*/ 41802 h 200521"/>
                <a:gd name="connsiteX26" fmla="*/ 81657 w 113760"/>
                <a:gd name="connsiteY26" fmla="*/ 46203 h 200521"/>
                <a:gd name="connsiteX27" fmla="*/ 81657 w 113760"/>
                <a:gd name="connsiteY27" fmla="*/ 88152 h 200521"/>
                <a:gd name="connsiteX28" fmla="*/ 81657 w 113760"/>
                <a:gd name="connsiteY28" fmla="*/ 88152 h 200521"/>
                <a:gd name="connsiteX29" fmla="*/ 81657 w 113760"/>
                <a:gd name="connsiteY29" fmla="*/ 181510 h 200521"/>
                <a:gd name="connsiteX30" fmla="*/ 71496 w 113760"/>
                <a:gd name="connsiteY30" fmla="*/ 191631 h 200521"/>
                <a:gd name="connsiteX31" fmla="*/ 61335 w 113760"/>
                <a:gd name="connsiteY31" fmla="*/ 181510 h 200521"/>
                <a:gd name="connsiteX32" fmla="*/ 61335 w 113760"/>
                <a:gd name="connsiteY32" fmla="*/ 111033 h 200521"/>
                <a:gd name="connsiteX33" fmla="*/ 56917 w 113760"/>
                <a:gd name="connsiteY33" fmla="*/ 106632 h 200521"/>
                <a:gd name="connsiteX34" fmla="*/ 56843 w 113760"/>
                <a:gd name="connsiteY34" fmla="*/ 106633 h 200521"/>
                <a:gd name="connsiteX35" fmla="*/ 52352 w 113760"/>
                <a:gd name="connsiteY35" fmla="*/ 111033 h 200521"/>
                <a:gd name="connsiteX36" fmla="*/ 52352 w 113760"/>
                <a:gd name="connsiteY36" fmla="*/ 181510 h 200521"/>
                <a:gd name="connsiteX37" fmla="*/ 43089 w 113760"/>
                <a:gd name="connsiteY37" fmla="*/ 192455 h 200521"/>
                <a:gd name="connsiteX38" fmla="*/ 32103 w 113760"/>
                <a:gd name="connsiteY38" fmla="*/ 183231 h 200521"/>
                <a:gd name="connsiteX39" fmla="*/ 32103 w 113760"/>
                <a:gd name="connsiteY39" fmla="*/ 181510 h 200521"/>
                <a:gd name="connsiteX40" fmla="*/ 32103 w 113760"/>
                <a:gd name="connsiteY40" fmla="*/ 46203 h 200521"/>
                <a:gd name="connsiteX41" fmla="*/ 27612 w 113760"/>
                <a:gd name="connsiteY41" fmla="*/ 41802 h 200521"/>
                <a:gd name="connsiteX42" fmla="*/ 23120 w 113760"/>
                <a:gd name="connsiteY42" fmla="*/ 46129 h 200521"/>
                <a:gd name="connsiteX43" fmla="*/ 23120 w 113760"/>
                <a:gd name="connsiteY43" fmla="*/ 46203 h 200521"/>
                <a:gd name="connsiteX44" fmla="*/ 23120 w 113760"/>
                <a:gd name="connsiteY44" fmla="*/ 88152 h 200521"/>
                <a:gd name="connsiteX45" fmla="*/ 16714 w 113760"/>
                <a:gd name="connsiteY45" fmla="*/ 95485 h 200521"/>
                <a:gd name="connsiteX46" fmla="*/ 11192 w 113760"/>
                <a:gd name="connsiteY46" fmla="*/ 93652 h 200521"/>
                <a:gd name="connsiteX47" fmla="*/ 8836 w 113760"/>
                <a:gd name="connsiteY47" fmla="*/ 88372 h 200521"/>
                <a:gd name="connsiteX48" fmla="*/ 8836 w 113760"/>
                <a:gd name="connsiteY48" fmla="*/ 27575 h 200521"/>
                <a:gd name="connsiteX49" fmla="*/ 27612 w 113760"/>
                <a:gd name="connsiteY49" fmla="*/ 8874 h 200521"/>
                <a:gd name="connsiteX50" fmla="*/ 86075 w 113760"/>
                <a:gd name="connsiteY50" fmla="*/ 8874 h 200521"/>
                <a:gd name="connsiteX51" fmla="*/ 104851 w 113760"/>
                <a:gd name="connsiteY51" fmla="*/ 27575 h 20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3760" h="200521">
                  <a:moveTo>
                    <a:pt x="86149" y="0"/>
                  </a:moveTo>
                  <a:lnTo>
                    <a:pt x="27685" y="0"/>
                  </a:lnTo>
                  <a:cubicBezTo>
                    <a:pt x="12392" y="0"/>
                    <a:pt x="0" y="12346"/>
                    <a:pt x="0" y="27575"/>
                  </a:cubicBezTo>
                  <a:lnTo>
                    <a:pt x="0" y="88665"/>
                  </a:lnTo>
                  <a:cubicBezTo>
                    <a:pt x="-44" y="97495"/>
                    <a:pt x="7113" y="104686"/>
                    <a:pt x="15978" y="104727"/>
                  </a:cubicBezTo>
                  <a:cubicBezTo>
                    <a:pt x="16516" y="104730"/>
                    <a:pt x="17061" y="104705"/>
                    <a:pt x="17598" y="104652"/>
                  </a:cubicBezTo>
                  <a:cubicBezTo>
                    <a:pt x="19549" y="104438"/>
                    <a:pt x="21449" y="103866"/>
                    <a:pt x="23194" y="102966"/>
                  </a:cubicBezTo>
                  <a:lnTo>
                    <a:pt x="23194" y="181510"/>
                  </a:lnTo>
                  <a:cubicBezTo>
                    <a:pt x="23187" y="192000"/>
                    <a:pt x="31713" y="200512"/>
                    <a:pt x="42250" y="200521"/>
                  </a:cubicBezTo>
                  <a:cubicBezTo>
                    <a:pt x="47912" y="200527"/>
                    <a:pt x="53287" y="198021"/>
                    <a:pt x="56917" y="193684"/>
                  </a:cubicBezTo>
                  <a:cubicBezTo>
                    <a:pt x="63662" y="201745"/>
                    <a:pt x="75686" y="202835"/>
                    <a:pt x="83778" y="196121"/>
                  </a:cubicBezTo>
                  <a:cubicBezTo>
                    <a:pt x="88129" y="192509"/>
                    <a:pt x="90648" y="187154"/>
                    <a:pt x="90640" y="181510"/>
                  </a:cubicBezTo>
                  <a:lnTo>
                    <a:pt x="90640" y="102966"/>
                  </a:lnTo>
                  <a:cubicBezTo>
                    <a:pt x="92385" y="103866"/>
                    <a:pt x="94285" y="104438"/>
                    <a:pt x="96236" y="104652"/>
                  </a:cubicBezTo>
                  <a:cubicBezTo>
                    <a:pt x="105065" y="105463"/>
                    <a:pt x="112877" y="98992"/>
                    <a:pt x="113694" y="90199"/>
                  </a:cubicBezTo>
                  <a:cubicBezTo>
                    <a:pt x="113738" y="89689"/>
                    <a:pt x="113760" y="89177"/>
                    <a:pt x="113760" y="88665"/>
                  </a:cubicBezTo>
                  <a:lnTo>
                    <a:pt x="113760" y="27575"/>
                  </a:lnTo>
                  <a:cubicBezTo>
                    <a:pt x="113760" y="12374"/>
                    <a:pt x="101412" y="40"/>
                    <a:pt x="86149" y="0"/>
                  </a:cubicBezTo>
                  <a:close/>
                  <a:moveTo>
                    <a:pt x="104925" y="88665"/>
                  </a:moveTo>
                  <a:cubicBezTo>
                    <a:pt x="104895" y="90672"/>
                    <a:pt x="104048" y="92580"/>
                    <a:pt x="102568" y="93945"/>
                  </a:cubicBezTo>
                  <a:cubicBezTo>
                    <a:pt x="101059" y="95286"/>
                    <a:pt x="99064" y="95949"/>
                    <a:pt x="97046" y="95779"/>
                  </a:cubicBezTo>
                  <a:cubicBezTo>
                    <a:pt x="93357" y="95297"/>
                    <a:pt x="90611" y="92151"/>
                    <a:pt x="90640" y="88445"/>
                  </a:cubicBezTo>
                  <a:lnTo>
                    <a:pt x="90640" y="88445"/>
                  </a:lnTo>
                  <a:lnTo>
                    <a:pt x="90640" y="46203"/>
                  </a:lnTo>
                  <a:cubicBezTo>
                    <a:pt x="90640" y="43772"/>
                    <a:pt x="88660" y="41802"/>
                    <a:pt x="86222" y="41802"/>
                  </a:cubicBezTo>
                  <a:cubicBezTo>
                    <a:pt x="86200" y="41802"/>
                    <a:pt x="86171" y="41802"/>
                    <a:pt x="86149" y="41802"/>
                  </a:cubicBezTo>
                  <a:cubicBezTo>
                    <a:pt x="83697" y="41802"/>
                    <a:pt x="81694" y="43760"/>
                    <a:pt x="81657" y="46203"/>
                  </a:cubicBezTo>
                  <a:lnTo>
                    <a:pt x="81657" y="88152"/>
                  </a:lnTo>
                  <a:lnTo>
                    <a:pt x="81657" y="88152"/>
                  </a:lnTo>
                  <a:lnTo>
                    <a:pt x="81657" y="181510"/>
                  </a:lnTo>
                  <a:cubicBezTo>
                    <a:pt x="81657" y="187100"/>
                    <a:pt x="77107" y="191631"/>
                    <a:pt x="71496" y="191631"/>
                  </a:cubicBezTo>
                  <a:cubicBezTo>
                    <a:pt x="65885" y="191631"/>
                    <a:pt x="61335" y="187100"/>
                    <a:pt x="61335" y="181510"/>
                  </a:cubicBezTo>
                  <a:lnTo>
                    <a:pt x="61335" y="111033"/>
                  </a:lnTo>
                  <a:cubicBezTo>
                    <a:pt x="61335" y="108602"/>
                    <a:pt x="59354" y="106633"/>
                    <a:pt x="56917" y="106632"/>
                  </a:cubicBezTo>
                  <a:cubicBezTo>
                    <a:pt x="56895" y="106632"/>
                    <a:pt x="56866" y="106632"/>
                    <a:pt x="56843" y="106633"/>
                  </a:cubicBezTo>
                  <a:cubicBezTo>
                    <a:pt x="54392" y="106633"/>
                    <a:pt x="52389" y="108591"/>
                    <a:pt x="52352" y="111033"/>
                  </a:cubicBezTo>
                  <a:lnTo>
                    <a:pt x="52352" y="181510"/>
                  </a:lnTo>
                  <a:cubicBezTo>
                    <a:pt x="52831" y="187079"/>
                    <a:pt x="48685" y="191979"/>
                    <a:pt x="43089" y="192455"/>
                  </a:cubicBezTo>
                  <a:cubicBezTo>
                    <a:pt x="37501" y="192930"/>
                    <a:pt x="32582" y="188801"/>
                    <a:pt x="32103" y="183231"/>
                  </a:cubicBezTo>
                  <a:cubicBezTo>
                    <a:pt x="32052" y="182659"/>
                    <a:pt x="32052" y="182083"/>
                    <a:pt x="32103" y="181510"/>
                  </a:cubicBezTo>
                  <a:lnTo>
                    <a:pt x="32103" y="46203"/>
                  </a:lnTo>
                  <a:cubicBezTo>
                    <a:pt x="32067" y="43760"/>
                    <a:pt x="30064" y="41802"/>
                    <a:pt x="27612" y="41802"/>
                  </a:cubicBezTo>
                  <a:cubicBezTo>
                    <a:pt x="25175" y="41762"/>
                    <a:pt x="23165" y="43699"/>
                    <a:pt x="23120" y="46129"/>
                  </a:cubicBezTo>
                  <a:cubicBezTo>
                    <a:pt x="23120" y="46153"/>
                    <a:pt x="23120" y="46178"/>
                    <a:pt x="23120" y="46203"/>
                  </a:cubicBezTo>
                  <a:lnTo>
                    <a:pt x="23120" y="88152"/>
                  </a:lnTo>
                  <a:cubicBezTo>
                    <a:pt x="23150" y="91857"/>
                    <a:pt x="20403" y="95004"/>
                    <a:pt x="16714" y="95485"/>
                  </a:cubicBezTo>
                  <a:cubicBezTo>
                    <a:pt x="14690" y="95723"/>
                    <a:pt x="12665" y="95050"/>
                    <a:pt x="11192" y="93652"/>
                  </a:cubicBezTo>
                  <a:cubicBezTo>
                    <a:pt x="9712" y="92287"/>
                    <a:pt x="8865" y="90379"/>
                    <a:pt x="8836" y="88372"/>
                  </a:cubicBezTo>
                  <a:lnTo>
                    <a:pt x="8836" y="27575"/>
                  </a:lnTo>
                  <a:cubicBezTo>
                    <a:pt x="8836" y="17247"/>
                    <a:pt x="17245" y="8874"/>
                    <a:pt x="27612" y="8874"/>
                  </a:cubicBezTo>
                  <a:lnTo>
                    <a:pt x="86075" y="8874"/>
                  </a:lnTo>
                  <a:cubicBezTo>
                    <a:pt x="96442" y="8874"/>
                    <a:pt x="104851" y="17247"/>
                    <a:pt x="104851" y="27575"/>
                  </a:cubicBezTo>
                  <a:close/>
                </a:path>
              </a:pathLst>
            </a:custGeom>
            <a:grpFill/>
            <a:ln w="7361" cap="flat">
              <a:solidFill>
                <a:schemeClr val="bg1"/>
              </a:solidFill>
              <a:prstDash val="solid"/>
              <a:miter/>
            </a:ln>
          </p:spPr>
          <p:txBody>
            <a:bodyPr rtlCol="0" anchor="ctr"/>
            <a:lstStyle/>
            <a:p>
              <a:endParaRPr lang="en-US"/>
            </a:p>
          </p:txBody>
        </p:sp>
        <p:sp>
          <p:nvSpPr>
            <p:cNvPr id="49" name="Freeform 351">
              <a:extLst>
                <a:ext uri="{FF2B5EF4-FFF2-40B4-BE49-F238E27FC236}">
                  <a16:creationId xmlns:a16="http://schemas.microsoft.com/office/drawing/2014/main" id="{695BAF62-BE55-154C-8866-C027A1239774}"/>
                </a:ext>
              </a:extLst>
            </p:cNvPr>
            <p:cNvSpPr/>
            <p:nvPr/>
          </p:nvSpPr>
          <p:spPr>
            <a:xfrm>
              <a:off x="1642709" y="2659232"/>
              <a:ext cx="48302" cy="48109"/>
            </a:xfrm>
            <a:custGeom>
              <a:avLst/>
              <a:gdLst>
                <a:gd name="connsiteX0" fmla="*/ 24151 w 48302"/>
                <a:gd name="connsiteY0" fmla="*/ 48109 h 48109"/>
                <a:gd name="connsiteX1" fmla="*/ 48302 w 48302"/>
                <a:gd name="connsiteY1" fmla="*/ 24055 h 48109"/>
                <a:gd name="connsiteX2" fmla="*/ 24151 w 48302"/>
                <a:gd name="connsiteY2" fmla="*/ 0 h 48109"/>
                <a:gd name="connsiteX3" fmla="*/ 0 w 48302"/>
                <a:gd name="connsiteY3" fmla="*/ 24055 h 48109"/>
                <a:gd name="connsiteX4" fmla="*/ 0 w 48302"/>
                <a:gd name="connsiteY4" fmla="*/ 24128 h 48109"/>
                <a:gd name="connsiteX5" fmla="*/ 24077 w 48302"/>
                <a:gd name="connsiteY5" fmla="*/ 48109 h 48109"/>
                <a:gd name="connsiteX6" fmla="*/ 24151 w 48302"/>
                <a:gd name="connsiteY6" fmla="*/ 48109 h 48109"/>
                <a:gd name="connsiteX7" fmla="*/ 24151 w 48302"/>
                <a:gd name="connsiteY7" fmla="*/ 9021 h 48109"/>
                <a:gd name="connsiteX8" fmla="*/ 39319 w 48302"/>
                <a:gd name="connsiteY8" fmla="*/ 24128 h 48109"/>
                <a:gd name="connsiteX9" fmla="*/ 24151 w 48302"/>
                <a:gd name="connsiteY9" fmla="*/ 39236 h 48109"/>
                <a:gd name="connsiteX10" fmla="*/ 8983 w 48302"/>
                <a:gd name="connsiteY10" fmla="*/ 24128 h 48109"/>
                <a:gd name="connsiteX11" fmla="*/ 24151 w 48302"/>
                <a:gd name="connsiteY11" fmla="*/ 9021 h 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2" h="48109">
                  <a:moveTo>
                    <a:pt x="24151" y="48109"/>
                  </a:moveTo>
                  <a:cubicBezTo>
                    <a:pt x="37486" y="48109"/>
                    <a:pt x="48302" y="37340"/>
                    <a:pt x="48302" y="24055"/>
                  </a:cubicBezTo>
                  <a:cubicBezTo>
                    <a:pt x="48302" y="10770"/>
                    <a:pt x="37486" y="0"/>
                    <a:pt x="24151" y="0"/>
                  </a:cubicBezTo>
                  <a:cubicBezTo>
                    <a:pt x="10809" y="0"/>
                    <a:pt x="0" y="10770"/>
                    <a:pt x="0" y="24055"/>
                  </a:cubicBezTo>
                  <a:cubicBezTo>
                    <a:pt x="0" y="24079"/>
                    <a:pt x="0" y="24104"/>
                    <a:pt x="0" y="24128"/>
                  </a:cubicBezTo>
                  <a:cubicBezTo>
                    <a:pt x="0" y="37373"/>
                    <a:pt x="10780" y="48109"/>
                    <a:pt x="24077" y="48109"/>
                  </a:cubicBezTo>
                  <a:cubicBezTo>
                    <a:pt x="24100" y="48109"/>
                    <a:pt x="24129" y="48109"/>
                    <a:pt x="24151" y="48109"/>
                  </a:cubicBezTo>
                  <a:close/>
                  <a:moveTo>
                    <a:pt x="24151" y="9021"/>
                  </a:moveTo>
                  <a:cubicBezTo>
                    <a:pt x="32530" y="9021"/>
                    <a:pt x="39319" y="15784"/>
                    <a:pt x="39319" y="24128"/>
                  </a:cubicBezTo>
                  <a:cubicBezTo>
                    <a:pt x="39319" y="32472"/>
                    <a:pt x="32530" y="39236"/>
                    <a:pt x="24151" y="39236"/>
                  </a:cubicBezTo>
                  <a:cubicBezTo>
                    <a:pt x="15772" y="39236"/>
                    <a:pt x="8983" y="32472"/>
                    <a:pt x="8983" y="24128"/>
                  </a:cubicBezTo>
                  <a:cubicBezTo>
                    <a:pt x="8983" y="15784"/>
                    <a:pt x="15772" y="9021"/>
                    <a:pt x="24151" y="9021"/>
                  </a:cubicBezTo>
                  <a:close/>
                </a:path>
              </a:pathLst>
            </a:custGeom>
            <a:grpFill/>
            <a:ln w="7361" cap="flat">
              <a:solidFill>
                <a:schemeClr val="bg1"/>
              </a:solidFill>
              <a:prstDash val="solid"/>
              <a:miter/>
            </a:ln>
          </p:spPr>
          <p:txBody>
            <a:bodyPr rtlCol="0" anchor="ctr"/>
            <a:lstStyle/>
            <a:p>
              <a:endParaRPr lang="en-US"/>
            </a:p>
          </p:txBody>
        </p:sp>
      </p:grpSp>
    </p:spTree>
    <p:extLst>
      <p:ext uri="{BB962C8B-B14F-4D97-AF65-F5344CB8AC3E}">
        <p14:creationId xmlns:p14="http://schemas.microsoft.com/office/powerpoint/2010/main" val="25002400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638268" y="226790"/>
            <a:ext cx="8856859"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000" b="1" dirty="0" smtClean="0">
                <a:solidFill>
                  <a:schemeClr val="tx1"/>
                </a:solidFill>
                <a:latin typeface="Arial" panose="020B0604020202020204" pitchFamily="34" charset="0"/>
                <a:cs typeface="Arial" panose="020B0604020202020204" pitchFamily="34" charset="0"/>
              </a:rPr>
              <a:t>Je suis </a:t>
            </a:r>
            <a:r>
              <a:rPr lang="fr-FR" sz="2000" b="1" dirty="0">
                <a:solidFill>
                  <a:schemeClr val="tx1"/>
                </a:solidFill>
                <a:latin typeface="Arial" panose="020B0604020202020204" pitchFamily="34" charset="0"/>
                <a:cs typeface="Arial" panose="020B0604020202020204" pitchFamily="34" charset="0"/>
              </a:rPr>
              <a:t>organisateur d’événement(s) visant à enrichir la base de données nationale, sous quelles conditions puis-je utiliser la marque ? </a:t>
            </a:r>
          </a:p>
        </p:txBody>
      </p:sp>
      <p:sp>
        <p:nvSpPr>
          <p:cNvPr id="17" name="Espace réservé du numéro de diapositive 1"/>
          <p:cNvSpPr>
            <a:spLocks noGrp="1"/>
          </p:cNvSpPr>
          <p:nvPr>
            <p:ph type="sldNum" sz="quarter" idx="12"/>
          </p:nvPr>
        </p:nvSpPr>
        <p:spPr>
          <a:xfrm>
            <a:off x="9863667" y="6277966"/>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4</a:t>
            </a:fld>
            <a:endParaRPr lang="fr-FR" sz="1050" dirty="0">
              <a:solidFill>
                <a:srgbClr val="FFFFFF"/>
              </a:solidFill>
              <a:latin typeface="Arial"/>
              <a:ea typeface="+mn-ea"/>
              <a:cs typeface="+mn-cs"/>
            </a:endParaRPr>
          </a:p>
        </p:txBody>
      </p:sp>
      <p:sp>
        <p:nvSpPr>
          <p:cNvPr id="22" name="Rechteck 21"/>
          <p:cNvSpPr/>
          <p:nvPr>
            <p:custDataLst>
              <p:tags r:id="rId1"/>
            </p:custDataLst>
          </p:nvPr>
        </p:nvSpPr>
        <p:spPr bwMode="gray">
          <a:xfrm>
            <a:off x="514351" y="3309820"/>
            <a:ext cx="11485562" cy="1440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algn="just">
              <a:spcBef>
                <a:spcPts val="100"/>
              </a:spcBef>
              <a:spcAft>
                <a:spcPts val="100"/>
              </a:spcAft>
              <a:buClr>
                <a:srgbClr val="5F5F5F"/>
              </a:buClr>
              <a:buSzPct val="100000"/>
              <a:tabLst>
                <a:tab pos="8429625" algn="l"/>
              </a:tabLst>
              <a:defRPr/>
            </a:pPr>
            <a:endParaRPr lang="fr-FR" sz="1600" dirty="0" smtClean="0">
              <a:solidFill>
                <a:schemeClr val="tx1"/>
              </a:solidFill>
              <a:latin typeface="Arial" pitchFamily="34" charset="0"/>
            </a:endParaRPr>
          </a:p>
        </p:txBody>
      </p:sp>
      <p:sp>
        <p:nvSpPr>
          <p:cNvPr id="24" name="Rechteck 19"/>
          <p:cNvSpPr/>
          <p:nvPr>
            <p:custDataLst>
              <p:tags r:id="rId2"/>
            </p:custDataLst>
          </p:nvPr>
        </p:nvSpPr>
        <p:spPr bwMode="gray">
          <a:xfrm>
            <a:off x="1187502" y="3007000"/>
            <a:ext cx="8156977" cy="599296"/>
          </a:xfrm>
          <a:prstGeom prst="round2DiagRect">
            <a:avLst/>
          </a:prstGeom>
          <a:solidFill>
            <a:schemeClr val="accent2"/>
          </a:solidFill>
          <a:ln w="38100" algn="ctr">
            <a:noFill/>
            <a:miter lim="800000"/>
            <a:headEnd/>
            <a:tailEnd/>
          </a:ln>
          <a:effectLst/>
        </p:spPr>
        <p:txBody>
          <a:bodyPr wrap="none" lIns="0" tIns="0" rIns="0" bIns="36000" rtlCol="0" anchor="ctr"/>
          <a:lstStyle/>
          <a:p>
            <a:pPr marL="182563"/>
            <a:r>
              <a:rPr lang="fr-FR" sz="1800" b="1" dirty="0">
                <a:solidFill>
                  <a:schemeClr val="bg1"/>
                </a:solidFill>
                <a:cs typeface="Arial" panose="020B0604020202020204" pitchFamily="34" charset="0"/>
              </a:rPr>
              <a:t>Je diffuse les messages de sensibilisation et promotion </a:t>
            </a:r>
          </a:p>
        </p:txBody>
      </p:sp>
      <p:sp>
        <p:nvSpPr>
          <p:cNvPr id="25" name="Ellipse 24">
            <a:extLst>
              <a:ext uri="{FF2B5EF4-FFF2-40B4-BE49-F238E27FC236}">
                <a16:creationId xmlns:a16="http://schemas.microsoft.com/office/drawing/2014/main" id="{D910C680-A94C-6A4A-A1C0-68776357678E}"/>
              </a:ext>
            </a:extLst>
          </p:cNvPr>
          <p:cNvSpPr>
            <a:spLocks noChangeAspect="1"/>
          </p:cNvSpPr>
          <p:nvPr/>
        </p:nvSpPr>
        <p:spPr bwMode="gray">
          <a:xfrm>
            <a:off x="314798" y="2818738"/>
            <a:ext cx="957559" cy="945942"/>
          </a:xfrm>
          <a:prstGeom prst="ellipse">
            <a:avLst/>
          </a:prstGeom>
          <a:solidFill>
            <a:schemeClr val="accent2"/>
          </a:solidFill>
          <a:ln w="57150" algn="ctr">
            <a:solidFill>
              <a:schemeClr val="bg1"/>
            </a:solidFill>
            <a:miter lim="800000"/>
            <a:headEnd/>
            <a:tailEnd/>
          </a:ln>
          <a:effectLst/>
        </p:spPr>
        <p:txBody>
          <a:bodyPr wrap="none" lIns="0" tIns="0" rIns="0" bIns="36000" rtlCol="0" anchor="ctr"/>
          <a:lstStyle/>
          <a:p>
            <a:pPr algn="ctr" defTabSz="914400">
              <a:spcBef>
                <a:spcPct val="0"/>
              </a:spcBef>
              <a:buSzPct val="90000"/>
            </a:pPr>
            <a:endParaRPr lang="fr-CA" sz="2000" b="1" kern="0" dirty="0">
              <a:solidFill>
                <a:srgbClr val="000000"/>
              </a:solidFill>
              <a:cs typeface="Arial" pitchFamily="34" charset="0"/>
            </a:endParaRPr>
          </a:p>
        </p:txBody>
      </p:sp>
      <p:sp>
        <p:nvSpPr>
          <p:cNvPr id="26" name="Rechteck 18"/>
          <p:cNvSpPr/>
          <p:nvPr>
            <p:custDataLst>
              <p:tags r:id="rId3"/>
            </p:custDataLst>
          </p:nvPr>
        </p:nvSpPr>
        <p:spPr bwMode="gray">
          <a:xfrm>
            <a:off x="517943" y="1330487"/>
            <a:ext cx="11481969" cy="152593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endParaRPr lang="fr-FR" sz="1600" dirty="0">
              <a:solidFill>
                <a:schemeClr val="tx1"/>
              </a:solidFill>
              <a:latin typeface="Arial" pitchFamily="34" charset="0"/>
            </a:endParaRPr>
          </a:p>
        </p:txBody>
      </p:sp>
      <p:sp>
        <p:nvSpPr>
          <p:cNvPr id="27" name="Rectangle avec coins arrondis en diagonale 26">
            <a:extLst>
              <a:ext uri="{FF2B5EF4-FFF2-40B4-BE49-F238E27FC236}">
                <a16:creationId xmlns:a16="http://schemas.microsoft.com/office/drawing/2014/main" id="{E88DB530-21C2-EC48-AB99-4DFA630FA8C9}"/>
              </a:ext>
            </a:extLst>
          </p:cNvPr>
          <p:cNvSpPr/>
          <p:nvPr/>
        </p:nvSpPr>
        <p:spPr bwMode="gray">
          <a:xfrm>
            <a:off x="1030611" y="990708"/>
            <a:ext cx="8208000" cy="540000"/>
          </a:xfrm>
          <a:prstGeom prst="round2DiagRect">
            <a:avLst/>
          </a:prstGeom>
          <a:solidFill>
            <a:srgbClr val="C00000"/>
          </a:solidFill>
          <a:ln w="38100" algn="ctr">
            <a:noFill/>
            <a:miter lim="800000"/>
            <a:headEnd/>
            <a:tailEnd/>
          </a:ln>
          <a:effectLst/>
        </p:spPr>
        <p:txBody>
          <a:bodyPr wrap="none" lIns="0" tIns="0" rIns="0" bIns="36000" rtlCol="0" anchor="ctr"/>
          <a:lstStyle/>
          <a:p>
            <a:pPr marL="355600">
              <a:tabLst>
                <a:tab pos="0" algn="l"/>
              </a:tabLst>
            </a:pPr>
            <a:r>
              <a:rPr lang="fr-FR" sz="1800" b="1" dirty="0">
                <a:solidFill>
                  <a:schemeClr val="bg1"/>
                </a:solidFill>
                <a:cs typeface="Arial" panose="020B0604020202020204" pitchFamily="34" charset="0"/>
              </a:rPr>
              <a:t>Je diffuse les obligations réglementaires relatives aux DAE</a:t>
            </a:r>
          </a:p>
        </p:txBody>
      </p:sp>
      <p:sp>
        <p:nvSpPr>
          <p:cNvPr id="35" name="Ellipse 34">
            <a:extLst>
              <a:ext uri="{FF2B5EF4-FFF2-40B4-BE49-F238E27FC236}">
                <a16:creationId xmlns:a16="http://schemas.microsoft.com/office/drawing/2014/main" id="{D910C680-A94C-6A4A-A1C0-68776357678E}"/>
              </a:ext>
            </a:extLst>
          </p:cNvPr>
          <p:cNvSpPr>
            <a:spLocks noChangeAspect="1"/>
          </p:cNvSpPr>
          <p:nvPr/>
        </p:nvSpPr>
        <p:spPr bwMode="gray">
          <a:xfrm>
            <a:off x="328446" y="826786"/>
            <a:ext cx="972001" cy="972000"/>
          </a:xfrm>
          <a:prstGeom prst="ellipse">
            <a:avLst/>
          </a:prstGeom>
          <a:solidFill>
            <a:srgbClr val="C00000"/>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sp>
        <p:nvSpPr>
          <p:cNvPr id="37" name="Rechteck 21"/>
          <p:cNvSpPr/>
          <p:nvPr>
            <p:custDataLst>
              <p:tags r:id="rId4"/>
            </p:custDataLst>
          </p:nvPr>
        </p:nvSpPr>
        <p:spPr bwMode="gray">
          <a:xfrm>
            <a:off x="514349" y="5473378"/>
            <a:ext cx="11485563" cy="900000"/>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0" bIns="0" rtlCol="0" anchor="ctr" anchorCtr="0">
            <a:no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endParaRPr lang="fr-FR" sz="1600" dirty="0">
              <a:solidFill>
                <a:schemeClr val="tx1"/>
              </a:solidFill>
              <a:latin typeface="Arial" pitchFamily="34" charset="0"/>
            </a:endParaRPr>
          </a:p>
        </p:txBody>
      </p:sp>
      <p:sp>
        <p:nvSpPr>
          <p:cNvPr id="41" name="Rechteck 19"/>
          <p:cNvSpPr/>
          <p:nvPr>
            <p:custDataLst>
              <p:tags r:id="rId5"/>
            </p:custDataLst>
          </p:nvPr>
        </p:nvSpPr>
        <p:spPr bwMode="gray">
          <a:xfrm>
            <a:off x="1219232" y="5067106"/>
            <a:ext cx="8156977" cy="540001"/>
          </a:xfrm>
          <a:prstGeom prst="round2DiagRect">
            <a:avLst/>
          </a:prstGeom>
          <a:solidFill>
            <a:srgbClr val="1F497D"/>
          </a:solidFill>
          <a:ln w="38100" algn="ctr">
            <a:noFill/>
            <a:miter lim="800000"/>
            <a:headEnd/>
            <a:tailEnd/>
          </a:ln>
          <a:effectLst/>
        </p:spPr>
        <p:txBody>
          <a:bodyPr wrap="none" lIns="0" tIns="0" rIns="0" bIns="36000" rtlCol="0" anchor="ctr"/>
          <a:lstStyle/>
          <a:p>
            <a:pPr marL="182563"/>
            <a:r>
              <a:rPr lang="fr-FR" sz="1800" b="1" dirty="0">
                <a:solidFill>
                  <a:schemeClr val="bg1"/>
                </a:solidFill>
                <a:cs typeface="Arial" panose="020B0604020202020204" pitchFamily="34" charset="0"/>
              </a:rPr>
              <a:t>J’utilise le label </a:t>
            </a:r>
            <a:r>
              <a:rPr lang="fr-FR" sz="1800" b="1" dirty="0" err="1">
                <a:solidFill>
                  <a:schemeClr val="bg1"/>
                </a:solidFill>
                <a:cs typeface="Arial" panose="020B0604020202020204" pitchFamily="34" charset="0"/>
              </a:rPr>
              <a:t>Géo’DAE</a:t>
            </a:r>
            <a:r>
              <a:rPr lang="fr-FR" sz="1800" b="1" dirty="0">
                <a:solidFill>
                  <a:schemeClr val="bg1"/>
                </a:solidFill>
                <a:cs typeface="Arial" panose="020B0604020202020204" pitchFamily="34" charset="0"/>
              </a:rPr>
              <a:t> </a:t>
            </a:r>
          </a:p>
        </p:txBody>
      </p:sp>
      <p:grpSp>
        <p:nvGrpSpPr>
          <p:cNvPr id="43" name="Group 348">
            <a:extLst>
              <a:ext uri="{FF2B5EF4-FFF2-40B4-BE49-F238E27FC236}">
                <a16:creationId xmlns:a16="http://schemas.microsoft.com/office/drawing/2014/main" id="{E7311D6C-0BB8-514E-B268-D1F6A3690034}"/>
              </a:ext>
            </a:extLst>
          </p:cNvPr>
          <p:cNvGrpSpPr>
            <a:grpSpLocks noChangeAspect="1"/>
          </p:cNvGrpSpPr>
          <p:nvPr/>
        </p:nvGrpSpPr>
        <p:grpSpPr>
          <a:xfrm>
            <a:off x="562423" y="993530"/>
            <a:ext cx="551266" cy="648000"/>
            <a:chOff x="1609943" y="2649994"/>
            <a:chExt cx="225238" cy="264762"/>
          </a:xfrm>
          <a:solidFill>
            <a:schemeClr val="bg1"/>
          </a:solidFill>
        </p:grpSpPr>
        <p:sp>
          <p:nvSpPr>
            <p:cNvPr id="44" name="Freeform 349">
              <a:extLst>
                <a:ext uri="{FF2B5EF4-FFF2-40B4-BE49-F238E27FC236}">
                  <a16:creationId xmlns:a16="http://schemas.microsoft.com/office/drawing/2014/main" id="{557FA530-2663-DD40-A645-B3DC1C1FF7A4}"/>
                </a:ext>
              </a:extLst>
            </p:cNvPr>
            <p:cNvSpPr/>
            <p:nvPr/>
          </p:nvSpPr>
          <p:spPr>
            <a:xfrm>
              <a:off x="1720169" y="2649994"/>
              <a:ext cx="115012" cy="95262"/>
            </a:xfrm>
            <a:custGeom>
              <a:avLst/>
              <a:gdLst>
                <a:gd name="connsiteX0" fmla="*/ 113171 w 115012"/>
                <a:gd name="connsiteY0" fmla="*/ 804 h 95262"/>
                <a:gd name="connsiteX1" fmla="*/ 109048 w 115012"/>
                <a:gd name="connsiteY1" fmla="*/ 218 h 95262"/>
                <a:gd name="connsiteX2" fmla="*/ 56254 w 115012"/>
                <a:gd name="connsiteY2" fmla="*/ 18552 h 95262"/>
                <a:gd name="connsiteX3" fmla="*/ 20543 w 115012"/>
                <a:gd name="connsiteY3" fmla="*/ 18552 h 95262"/>
                <a:gd name="connsiteX4" fmla="*/ 0 w 115012"/>
                <a:gd name="connsiteY4" fmla="*/ 39013 h 95262"/>
                <a:gd name="connsiteX5" fmla="*/ 0 w 115012"/>
                <a:gd name="connsiteY5" fmla="*/ 41947 h 95262"/>
                <a:gd name="connsiteX6" fmla="*/ 20543 w 115012"/>
                <a:gd name="connsiteY6" fmla="*/ 62408 h 95262"/>
                <a:gd name="connsiteX7" fmla="*/ 26875 w 115012"/>
                <a:gd name="connsiteY7" fmla="*/ 62408 h 95262"/>
                <a:gd name="connsiteX8" fmla="*/ 26875 w 115012"/>
                <a:gd name="connsiteY8" fmla="*/ 84409 h 95262"/>
                <a:gd name="connsiteX9" fmla="*/ 37773 w 115012"/>
                <a:gd name="connsiteY9" fmla="*/ 95263 h 95262"/>
                <a:gd name="connsiteX10" fmla="*/ 41823 w 115012"/>
                <a:gd name="connsiteY10" fmla="*/ 95263 h 95262"/>
                <a:gd name="connsiteX11" fmla="*/ 52720 w 115012"/>
                <a:gd name="connsiteY11" fmla="*/ 84409 h 95262"/>
                <a:gd name="connsiteX12" fmla="*/ 52720 w 115012"/>
                <a:gd name="connsiteY12" fmla="*/ 62408 h 95262"/>
                <a:gd name="connsiteX13" fmla="*/ 56328 w 115012"/>
                <a:gd name="connsiteY13" fmla="*/ 62408 h 95262"/>
                <a:gd name="connsiteX14" fmla="*/ 109121 w 115012"/>
                <a:gd name="connsiteY14" fmla="*/ 80522 h 95262"/>
                <a:gd name="connsiteX15" fmla="*/ 110520 w 115012"/>
                <a:gd name="connsiteY15" fmla="*/ 80522 h 95262"/>
                <a:gd name="connsiteX16" fmla="*/ 113171 w 115012"/>
                <a:gd name="connsiteY16" fmla="*/ 79715 h 95262"/>
                <a:gd name="connsiteX17" fmla="*/ 115012 w 115012"/>
                <a:gd name="connsiteY17" fmla="*/ 76049 h 95262"/>
                <a:gd name="connsiteX18" fmla="*/ 115012 w 115012"/>
                <a:gd name="connsiteY18" fmla="*/ 4471 h 95262"/>
                <a:gd name="connsiteX19" fmla="*/ 113171 w 115012"/>
                <a:gd name="connsiteY19" fmla="*/ 804 h 95262"/>
                <a:gd name="connsiteX20" fmla="*/ 8909 w 115012"/>
                <a:gd name="connsiteY20" fmla="*/ 41947 h 95262"/>
                <a:gd name="connsiteX21" fmla="*/ 8909 w 115012"/>
                <a:gd name="connsiteY21" fmla="*/ 39013 h 95262"/>
                <a:gd name="connsiteX22" fmla="*/ 20543 w 115012"/>
                <a:gd name="connsiteY22" fmla="*/ 27426 h 95262"/>
                <a:gd name="connsiteX23" fmla="*/ 52573 w 115012"/>
                <a:gd name="connsiteY23" fmla="*/ 27426 h 95262"/>
                <a:gd name="connsiteX24" fmla="*/ 52573 w 115012"/>
                <a:gd name="connsiteY24" fmla="*/ 53681 h 95262"/>
                <a:gd name="connsiteX25" fmla="*/ 20543 w 115012"/>
                <a:gd name="connsiteY25" fmla="*/ 53681 h 95262"/>
                <a:gd name="connsiteX26" fmla="*/ 8909 w 115012"/>
                <a:gd name="connsiteY26" fmla="*/ 42094 h 95262"/>
                <a:gd name="connsiteX27" fmla="*/ 8909 w 115012"/>
                <a:gd name="connsiteY27" fmla="*/ 41947 h 95262"/>
                <a:gd name="connsiteX28" fmla="*/ 43737 w 115012"/>
                <a:gd name="connsiteY28" fmla="*/ 84702 h 95262"/>
                <a:gd name="connsiteX29" fmla="*/ 41823 w 115012"/>
                <a:gd name="connsiteY29" fmla="*/ 86609 h 95262"/>
                <a:gd name="connsiteX30" fmla="*/ 37773 w 115012"/>
                <a:gd name="connsiteY30" fmla="*/ 86609 h 95262"/>
                <a:gd name="connsiteX31" fmla="*/ 35785 w 115012"/>
                <a:gd name="connsiteY31" fmla="*/ 84777 h 95262"/>
                <a:gd name="connsiteX32" fmla="*/ 35785 w 115012"/>
                <a:gd name="connsiteY32" fmla="*/ 84702 h 95262"/>
                <a:gd name="connsiteX33" fmla="*/ 35785 w 115012"/>
                <a:gd name="connsiteY33" fmla="*/ 62701 h 95262"/>
                <a:gd name="connsiteX34" fmla="*/ 43737 w 115012"/>
                <a:gd name="connsiteY34" fmla="*/ 62701 h 95262"/>
                <a:gd name="connsiteX35" fmla="*/ 106103 w 115012"/>
                <a:gd name="connsiteY35" fmla="*/ 70035 h 95262"/>
                <a:gd name="connsiteX36" fmla="*/ 61556 w 115012"/>
                <a:gd name="connsiteY36" fmla="*/ 54781 h 95262"/>
                <a:gd name="connsiteX37" fmla="*/ 61556 w 115012"/>
                <a:gd name="connsiteY37" fmla="*/ 26179 h 95262"/>
                <a:gd name="connsiteX38" fmla="*/ 106103 w 115012"/>
                <a:gd name="connsiteY38" fmla="*/ 10705 h 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5012" h="95262">
                  <a:moveTo>
                    <a:pt x="113171" y="804"/>
                  </a:moveTo>
                  <a:cubicBezTo>
                    <a:pt x="111956" y="2"/>
                    <a:pt x="110439" y="-213"/>
                    <a:pt x="109048" y="218"/>
                  </a:cubicBezTo>
                  <a:lnTo>
                    <a:pt x="56254" y="18552"/>
                  </a:lnTo>
                  <a:lnTo>
                    <a:pt x="20543" y="18552"/>
                  </a:lnTo>
                  <a:cubicBezTo>
                    <a:pt x="9211" y="18592"/>
                    <a:pt x="37" y="27729"/>
                    <a:pt x="0" y="39013"/>
                  </a:cubicBezTo>
                  <a:lnTo>
                    <a:pt x="0" y="41947"/>
                  </a:lnTo>
                  <a:cubicBezTo>
                    <a:pt x="0" y="53247"/>
                    <a:pt x="9197" y="62408"/>
                    <a:pt x="20543" y="62408"/>
                  </a:cubicBezTo>
                  <a:lnTo>
                    <a:pt x="26875" y="62408"/>
                  </a:lnTo>
                  <a:lnTo>
                    <a:pt x="26875" y="84409"/>
                  </a:lnTo>
                  <a:cubicBezTo>
                    <a:pt x="26875" y="90404"/>
                    <a:pt x="31757" y="95263"/>
                    <a:pt x="37773" y="95263"/>
                  </a:cubicBezTo>
                  <a:lnTo>
                    <a:pt x="41823" y="95263"/>
                  </a:lnTo>
                  <a:cubicBezTo>
                    <a:pt x="47823" y="95223"/>
                    <a:pt x="52683" y="90387"/>
                    <a:pt x="52720" y="84409"/>
                  </a:cubicBezTo>
                  <a:lnTo>
                    <a:pt x="52720" y="62408"/>
                  </a:lnTo>
                  <a:lnTo>
                    <a:pt x="56328" y="62408"/>
                  </a:lnTo>
                  <a:lnTo>
                    <a:pt x="109121" y="80522"/>
                  </a:lnTo>
                  <a:cubicBezTo>
                    <a:pt x="109585" y="80593"/>
                    <a:pt x="110057" y="80593"/>
                    <a:pt x="110520" y="80522"/>
                  </a:cubicBezTo>
                  <a:cubicBezTo>
                    <a:pt x="111463" y="80516"/>
                    <a:pt x="112383" y="80235"/>
                    <a:pt x="113171" y="79715"/>
                  </a:cubicBezTo>
                  <a:cubicBezTo>
                    <a:pt x="114335" y="78854"/>
                    <a:pt x="115019" y="77493"/>
                    <a:pt x="115012" y="76049"/>
                  </a:cubicBezTo>
                  <a:lnTo>
                    <a:pt x="115012" y="4471"/>
                  </a:lnTo>
                  <a:cubicBezTo>
                    <a:pt x="115041" y="3021"/>
                    <a:pt x="114357" y="1650"/>
                    <a:pt x="113171" y="804"/>
                  </a:cubicBezTo>
                  <a:close/>
                  <a:moveTo>
                    <a:pt x="8909" y="41947"/>
                  </a:moveTo>
                  <a:lnTo>
                    <a:pt x="8909" y="39013"/>
                  </a:lnTo>
                  <a:cubicBezTo>
                    <a:pt x="8909" y="32614"/>
                    <a:pt x="14115" y="27426"/>
                    <a:pt x="20543" y="27426"/>
                  </a:cubicBezTo>
                  <a:lnTo>
                    <a:pt x="52573" y="27426"/>
                  </a:lnTo>
                  <a:lnTo>
                    <a:pt x="52573" y="53681"/>
                  </a:lnTo>
                  <a:lnTo>
                    <a:pt x="20543" y="53681"/>
                  </a:lnTo>
                  <a:cubicBezTo>
                    <a:pt x="14115" y="53681"/>
                    <a:pt x="8909" y="48494"/>
                    <a:pt x="8909" y="42094"/>
                  </a:cubicBezTo>
                  <a:cubicBezTo>
                    <a:pt x="8909" y="42045"/>
                    <a:pt x="8909" y="41996"/>
                    <a:pt x="8909" y="41947"/>
                  </a:cubicBezTo>
                  <a:close/>
                  <a:moveTo>
                    <a:pt x="43737" y="84702"/>
                  </a:moveTo>
                  <a:cubicBezTo>
                    <a:pt x="43737" y="85755"/>
                    <a:pt x="42883" y="86609"/>
                    <a:pt x="41823" y="86609"/>
                  </a:cubicBezTo>
                  <a:lnTo>
                    <a:pt x="37773" y="86609"/>
                  </a:lnTo>
                  <a:cubicBezTo>
                    <a:pt x="36720" y="86649"/>
                    <a:pt x="35829" y="85830"/>
                    <a:pt x="35785" y="84777"/>
                  </a:cubicBezTo>
                  <a:cubicBezTo>
                    <a:pt x="35785" y="84752"/>
                    <a:pt x="35785" y="84727"/>
                    <a:pt x="35785" y="84702"/>
                  </a:cubicBezTo>
                  <a:lnTo>
                    <a:pt x="35785" y="62701"/>
                  </a:lnTo>
                  <a:lnTo>
                    <a:pt x="43737" y="62701"/>
                  </a:lnTo>
                  <a:close/>
                  <a:moveTo>
                    <a:pt x="106103" y="70035"/>
                  </a:moveTo>
                  <a:lnTo>
                    <a:pt x="61556" y="54781"/>
                  </a:lnTo>
                  <a:lnTo>
                    <a:pt x="61556" y="26179"/>
                  </a:lnTo>
                  <a:lnTo>
                    <a:pt x="106103" y="10705"/>
                  </a:lnTo>
                  <a:close/>
                </a:path>
              </a:pathLst>
            </a:custGeom>
            <a:grpFill/>
            <a:ln w="7361" cap="flat">
              <a:solidFill>
                <a:schemeClr val="bg1"/>
              </a:solidFill>
              <a:prstDash val="solid"/>
              <a:miter/>
            </a:ln>
          </p:spPr>
          <p:txBody>
            <a:bodyPr rtlCol="0" anchor="ctr"/>
            <a:lstStyle/>
            <a:p>
              <a:endParaRPr lang="en-US"/>
            </a:p>
          </p:txBody>
        </p:sp>
        <p:sp>
          <p:nvSpPr>
            <p:cNvPr id="45" name="Freeform 350">
              <a:extLst>
                <a:ext uri="{FF2B5EF4-FFF2-40B4-BE49-F238E27FC236}">
                  <a16:creationId xmlns:a16="http://schemas.microsoft.com/office/drawing/2014/main" id="{40F32609-6E02-3D46-A1F1-DA5EDB75FD7C}"/>
                </a:ext>
              </a:extLst>
            </p:cNvPr>
            <p:cNvSpPr/>
            <p:nvPr/>
          </p:nvSpPr>
          <p:spPr>
            <a:xfrm>
              <a:off x="1609943" y="2714235"/>
              <a:ext cx="113760" cy="200521"/>
            </a:xfrm>
            <a:custGeom>
              <a:avLst/>
              <a:gdLst>
                <a:gd name="connsiteX0" fmla="*/ 86149 w 113760"/>
                <a:gd name="connsiteY0" fmla="*/ 0 h 200521"/>
                <a:gd name="connsiteX1" fmla="*/ 27685 w 113760"/>
                <a:gd name="connsiteY1" fmla="*/ 0 h 200521"/>
                <a:gd name="connsiteX2" fmla="*/ 0 w 113760"/>
                <a:gd name="connsiteY2" fmla="*/ 27575 h 200521"/>
                <a:gd name="connsiteX3" fmla="*/ 0 w 113760"/>
                <a:gd name="connsiteY3" fmla="*/ 88665 h 200521"/>
                <a:gd name="connsiteX4" fmla="*/ 15978 w 113760"/>
                <a:gd name="connsiteY4" fmla="*/ 104727 h 200521"/>
                <a:gd name="connsiteX5" fmla="*/ 17598 w 113760"/>
                <a:gd name="connsiteY5" fmla="*/ 104652 h 200521"/>
                <a:gd name="connsiteX6" fmla="*/ 23194 w 113760"/>
                <a:gd name="connsiteY6" fmla="*/ 102966 h 200521"/>
                <a:gd name="connsiteX7" fmla="*/ 23194 w 113760"/>
                <a:gd name="connsiteY7" fmla="*/ 181510 h 200521"/>
                <a:gd name="connsiteX8" fmla="*/ 42250 w 113760"/>
                <a:gd name="connsiteY8" fmla="*/ 200521 h 200521"/>
                <a:gd name="connsiteX9" fmla="*/ 56917 w 113760"/>
                <a:gd name="connsiteY9" fmla="*/ 193684 h 200521"/>
                <a:gd name="connsiteX10" fmla="*/ 83778 w 113760"/>
                <a:gd name="connsiteY10" fmla="*/ 196121 h 200521"/>
                <a:gd name="connsiteX11" fmla="*/ 90640 w 113760"/>
                <a:gd name="connsiteY11" fmla="*/ 181510 h 200521"/>
                <a:gd name="connsiteX12" fmla="*/ 90640 w 113760"/>
                <a:gd name="connsiteY12" fmla="*/ 102966 h 200521"/>
                <a:gd name="connsiteX13" fmla="*/ 96236 w 113760"/>
                <a:gd name="connsiteY13" fmla="*/ 104652 h 200521"/>
                <a:gd name="connsiteX14" fmla="*/ 113694 w 113760"/>
                <a:gd name="connsiteY14" fmla="*/ 90199 h 200521"/>
                <a:gd name="connsiteX15" fmla="*/ 113760 w 113760"/>
                <a:gd name="connsiteY15" fmla="*/ 88665 h 200521"/>
                <a:gd name="connsiteX16" fmla="*/ 113760 w 113760"/>
                <a:gd name="connsiteY16" fmla="*/ 27575 h 200521"/>
                <a:gd name="connsiteX17" fmla="*/ 86149 w 113760"/>
                <a:gd name="connsiteY17" fmla="*/ 0 h 200521"/>
                <a:gd name="connsiteX18" fmla="*/ 104925 w 113760"/>
                <a:gd name="connsiteY18" fmla="*/ 88665 h 200521"/>
                <a:gd name="connsiteX19" fmla="*/ 102568 w 113760"/>
                <a:gd name="connsiteY19" fmla="*/ 93945 h 200521"/>
                <a:gd name="connsiteX20" fmla="*/ 97046 w 113760"/>
                <a:gd name="connsiteY20" fmla="*/ 95779 h 200521"/>
                <a:gd name="connsiteX21" fmla="*/ 90640 w 113760"/>
                <a:gd name="connsiteY21" fmla="*/ 88445 h 200521"/>
                <a:gd name="connsiteX22" fmla="*/ 90640 w 113760"/>
                <a:gd name="connsiteY22" fmla="*/ 88445 h 200521"/>
                <a:gd name="connsiteX23" fmla="*/ 90640 w 113760"/>
                <a:gd name="connsiteY23" fmla="*/ 46203 h 200521"/>
                <a:gd name="connsiteX24" fmla="*/ 86222 w 113760"/>
                <a:gd name="connsiteY24" fmla="*/ 41802 h 200521"/>
                <a:gd name="connsiteX25" fmla="*/ 86149 w 113760"/>
                <a:gd name="connsiteY25" fmla="*/ 41802 h 200521"/>
                <a:gd name="connsiteX26" fmla="*/ 81657 w 113760"/>
                <a:gd name="connsiteY26" fmla="*/ 46203 h 200521"/>
                <a:gd name="connsiteX27" fmla="*/ 81657 w 113760"/>
                <a:gd name="connsiteY27" fmla="*/ 88152 h 200521"/>
                <a:gd name="connsiteX28" fmla="*/ 81657 w 113760"/>
                <a:gd name="connsiteY28" fmla="*/ 88152 h 200521"/>
                <a:gd name="connsiteX29" fmla="*/ 81657 w 113760"/>
                <a:gd name="connsiteY29" fmla="*/ 181510 h 200521"/>
                <a:gd name="connsiteX30" fmla="*/ 71496 w 113760"/>
                <a:gd name="connsiteY30" fmla="*/ 191631 h 200521"/>
                <a:gd name="connsiteX31" fmla="*/ 61335 w 113760"/>
                <a:gd name="connsiteY31" fmla="*/ 181510 h 200521"/>
                <a:gd name="connsiteX32" fmla="*/ 61335 w 113760"/>
                <a:gd name="connsiteY32" fmla="*/ 111033 h 200521"/>
                <a:gd name="connsiteX33" fmla="*/ 56917 w 113760"/>
                <a:gd name="connsiteY33" fmla="*/ 106632 h 200521"/>
                <a:gd name="connsiteX34" fmla="*/ 56843 w 113760"/>
                <a:gd name="connsiteY34" fmla="*/ 106633 h 200521"/>
                <a:gd name="connsiteX35" fmla="*/ 52352 w 113760"/>
                <a:gd name="connsiteY35" fmla="*/ 111033 h 200521"/>
                <a:gd name="connsiteX36" fmla="*/ 52352 w 113760"/>
                <a:gd name="connsiteY36" fmla="*/ 181510 h 200521"/>
                <a:gd name="connsiteX37" fmla="*/ 43089 w 113760"/>
                <a:gd name="connsiteY37" fmla="*/ 192455 h 200521"/>
                <a:gd name="connsiteX38" fmla="*/ 32103 w 113760"/>
                <a:gd name="connsiteY38" fmla="*/ 183231 h 200521"/>
                <a:gd name="connsiteX39" fmla="*/ 32103 w 113760"/>
                <a:gd name="connsiteY39" fmla="*/ 181510 h 200521"/>
                <a:gd name="connsiteX40" fmla="*/ 32103 w 113760"/>
                <a:gd name="connsiteY40" fmla="*/ 46203 h 200521"/>
                <a:gd name="connsiteX41" fmla="*/ 27612 w 113760"/>
                <a:gd name="connsiteY41" fmla="*/ 41802 h 200521"/>
                <a:gd name="connsiteX42" fmla="*/ 23120 w 113760"/>
                <a:gd name="connsiteY42" fmla="*/ 46129 h 200521"/>
                <a:gd name="connsiteX43" fmla="*/ 23120 w 113760"/>
                <a:gd name="connsiteY43" fmla="*/ 46203 h 200521"/>
                <a:gd name="connsiteX44" fmla="*/ 23120 w 113760"/>
                <a:gd name="connsiteY44" fmla="*/ 88152 h 200521"/>
                <a:gd name="connsiteX45" fmla="*/ 16714 w 113760"/>
                <a:gd name="connsiteY45" fmla="*/ 95485 h 200521"/>
                <a:gd name="connsiteX46" fmla="*/ 11192 w 113760"/>
                <a:gd name="connsiteY46" fmla="*/ 93652 h 200521"/>
                <a:gd name="connsiteX47" fmla="*/ 8836 w 113760"/>
                <a:gd name="connsiteY47" fmla="*/ 88372 h 200521"/>
                <a:gd name="connsiteX48" fmla="*/ 8836 w 113760"/>
                <a:gd name="connsiteY48" fmla="*/ 27575 h 200521"/>
                <a:gd name="connsiteX49" fmla="*/ 27612 w 113760"/>
                <a:gd name="connsiteY49" fmla="*/ 8874 h 200521"/>
                <a:gd name="connsiteX50" fmla="*/ 86075 w 113760"/>
                <a:gd name="connsiteY50" fmla="*/ 8874 h 200521"/>
                <a:gd name="connsiteX51" fmla="*/ 104851 w 113760"/>
                <a:gd name="connsiteY51" fmla="*/ 27575 h 20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3760" h="200521">
                  <a:moveTo>
                    <a:pt x="86149" y="0"/>
                  </a:moveTo>
                  <a:lnTo>
                    <a:pt x="27685" y="0"/>
                  </a:lnTo>
                  <a:cubicBezTo>
                    <a:pt x="12392" y="0"/>
                    <a:pt x="0" y="12346"/>
                    <a:pt x="0" y="27575"/>
                  </a:cubicBezTo>
                  <a:lnTo>
                    <a:pt x="0" y="88665"/>
                  </a:lnTo>
                  <a:cubicBezTo>
                    <a:pt x="-44" y="97495"/>
                    <a:pt x="7113" y="104686"/>
                    <a:pt x="15978" y="104727"/>
                  </a:cubicBezTo>
                  <a:cubicBezTo>
                    <a:pt x="16516" y="104730"/>
                    <a:pt x="17061" y="104705"/>
                    <a:pt x="17598" y="104652"/>
                  </a:cubicBezTo>
                  <a:cubicBezTo>
                    <a:pt x="19549" y="104438"/>
                    <a:pt x="21449" y="103866"/>
                    <a:pt x="23194" y="102966"/>
                  </a:cubicBezTo>
                  <a:lnTo>
                    <a:pt x="23194" y="181510"/>
                  </a:lnTo>
                  <a:cubicBezTo>
                    <a:pt x="23187" y="192000"/>
                    <a:pt x="31713" y="200512"/>
                    <a:pt x="42250" y="200521"/>
                  </a:cubicBezTo>
                  <a:cubicBezTo>
                    <a:pt x="47912" y="200527"/>
                    <a:pt x="53287" y="198021"/>
                    <a:pt x="56917" y="193684"/>
                  </a:cubicBezTo>
                  <a:cubicBezTo>
                    <a:pt x="63662" y="201745"/>
                    <a:pt x="75686" y="202835"/>
                    <a:pt x="83778" y="196121"/>
                  </a:cubicBezTo>
                  <a:cubicBezTo>
                    <a:pt x="88129" y="192509"/>
                    <a:pt x="90648" y="187154"/>
                    <a:pt x="90640" y="181510"/>
                  </a:cubicBezTo>
                  <a:lnTo>
                    <a:pt x="90640" y="102966"/>
                  </a:lnTo>
                  <a:cubicBezTo>
                    <a:pt x="92385" y="103866"/>
                    <a:pt x="94285" y="104438"/>
                    <a:pt x="96236" y="104652"/>
                  </a:cubicBezTo>
                  <a:cubicBezTo>
                    <a:pt x="105065" y="105463"/>
                    <a:pt x="112877" y="98992"/>
                    <a:pt x="113694" y="90199"/>
                  </a:cubicBezTo>
                  <a:cubicBezTo>
                    <a:pt x="113738" y="89689"/>
                    <a:pt x="113760" y="89177"/>
                    <a:pt x="113760" y="88665"/>
                  </a:cubicBezTo>
                  <a:lnTo>
                    <a:pt x="113760" y="27575"/>
                  </a:lnTo>
                  <a:cubicBezTo>
                    <a:pt x="113760" y="12374"/>
                    <a:pt x="101412" y="40"/>
                    <a:pt x="86149" y="0"/>
                  </a:cubicBezTo>
                  <a:close/>
                  <a:moveTo>
                    <a:pt x="104925" y="88665"/>
                  </a:moveTo>
                  <a:cubicBezTo>
                    <a:pt x="104895" y="90672"/>
                    <a:pt x="104048" y="92580"/>
                    <a:pt x="102568" y="93945"/>
                  </a:cubicBezTo>
                  <a:cubicBezTo>
                    <a:pt x="101059" y="95286"/>
                    <a:pt x="99064" y="95949"/>
                    <a:pt x="97046" y="95779"/>
                  </a:cubicBezTo>
                  <a:cubicBezTo>
                    <a:pt x="93357" y="95297"/>
                    <a:pt x="90611" y="92151"/>
                    <a:pt x="90640" y="88445"/>
                  </a:cubicBezTo>
                  <a:lnTo>
                    <a:pt x="90640" y="88445"/>
                  </a:lnTo>
                  <a:lnTo>
                    <a:pt x="90640" y="46203"/>
                  </a:lnTo>
                  <a:cubicBezTo>
                    <a:pt x="90640" y="43772"/>
                    <a:pt x="88660" y="41802"/>
                    <a:pt x="86222" y="41802"/>
                  </a:cubicBezTo>
                  <a:cubicBezTo>
                    <a:pt x="86200" y="41802"/>
                    <a:pt x="86171" y="41802"/>
                    <a:pt x="86149" y="41802"/>
                  </a:cubicBezTo>
                  <a:cubicBezTo>
                    <a:pt x="83697" y="41802"/>
                    <a:pt x="81694" y="43760"/>
                    <a:pt x="81657" y="46203"/>
                  </a:cubicBezTo>
                  <a:lnTo>
                    <a:pt x="81657" y="88152"/>
                  </a:lnTo>
                  <a:lnTo>
                    <a:pt x="81657" y="88152"/>
                  </a:lnTo>
                  <a:lnTo>
                    <a:pt x="81657" y="181510"/>
                  </a:lnTo>
                  <a:cubicBezTo>
                    <a:pt x="81657" y="187100"/>
                    <a:pt x="77107" y="191631"/>
                    <a:pt x="71496" y="191631"/>
                  </a:cubicBezTo>
                  <a:cubicBezTo>
                    <a:pt x="65885" y="191631"/>
                    <a:pt x="61335" y="187100"/>
                    <a:pt x="61335" y="181510"/>
                  </a:cubicBezTo>
                  <a:lnTo>
                    <a:pt x="61335" y="111033"/>
                  </a:lnTo>
                  <a:cubicBezTo>
                    <a:pt x="61335" y="108602"/>
                    <a:pt x="59354" y="106633"/>
                    <a:pt x="56917" y="106632"/>
                  </a:cubicBezTo>
                  <a:cubicBezTo>
                    <a:pt x="56895" y="106632"/>
                    <a:pt x="56866" y="106632"/>
                    <a:pt x="56843" y="106633"/>
                  </a:cubicBezTo>
                  <a:cubicBezTo>
                    <a:pt x="54392" y="106633"/>
                    <a:pt x="52389" y="108591"/>
                    <a:pt x="52352" y="111033"/>
                  </a:cubicBezTo>
                  <a:lnTo>
                    <a:pt x="52352" y="181510"/>
                  </a:lnTo>
                  <a:cubicBezTo>
                    <a:pt x="52831" y="187079"/>
                    <a:pt x="48685" y="191979"/>
                    <a:pt x="43089" y="192455"/>
                  </a:cubicBezTo>
                  <a:cubicBezTo>
                    <a:pt x="37501" y="192930"/>
                    <a:pt x="32582" y="188801"/>
                    <a:pt x="32103" y="183231"/>
                  </a:cubicBezTo>
                  <a:cubicBezTo>
                    <a:pt x="32052" y="182659"/>
                    <a:pt x="32052" y="182083"/>
                    <a:pt x="32103" y="181510"/>
                  </a:cubicBezTo>
                  <a:lnTo>
                    <a:pt x="32103" y="46203"/>
                  </a:lnTo>
                  <a:cubicBezTo>
                    <a:pt x="32067" y="43760"/>
                    <a:pt x="30064" y="41802"/>
                    <a:pt x="27612" y="41802"/>
                  </a:cubicBezTo>
                  <a:cubicBezTo>
                    <a:pt x="25175" y="41762"/>
                    <a:pt x="23165" y="43699"/>
                    <a:pt x="23120" y="46129"/>
                  </a:cubicBezTo>
                  <a:cubicBezTo>
                    <a:pt x="23120" y="46153"/>
                    <a:pt x="23120" y="46178"/>
                    <a:pt x="23120" y="46203"/>
                  </a:cubicBezTo>
                  <a:lnTo>
                    <a:pt x="23120" y="88152"/>
                  </a:lnTo>
                  <a:cubicBezTo>
                    <a:pt x="23150" y="91857"/>
                    <a:pt x="20403" y="95004"/>
                    <a:pt x="16714" y="95485"/>
                  </a:cubicBezTo>
                  <a:cubicBezTo>
                    <a:pt x="14690" y="95723"/>
                    <a:pt x="12665" y="95050"/>
                    <a:pt x="11192" y="93652"/>
                  </a:cubicBezTo>
                  <a:cubicBezTo>
                    <a:pt x="9712" y="92287"/>
                    <a:pt x="8865" y="90379"/>
                    <a:pt x="8836" y="88372"/>
                  </a:cubicBezTo>
                  <a:lnTo>
                    <a:pt x="8836" y="27575"/>
                  </a:lnTo>
                  <a:cubicBezTo>
                    <a:pt x="8836" y="17247"/>
                    <a:pt x="17245" y="8874"/>
                    <a:pt x="27612" y="8874"/>
                  </a:cubicBezTo>
                  <a:lnTo>
                    <a:pt x="86075" y="8874"/>
                  </a:lnTo>
                  <a:cubicBezTo>
                    <a:pt x="96442" y="8874"/>
                    <a:pt x="104851" y="17247"/>
                    <a:pt x="104851" y="27575"/>
                  </a:cubicBezTo>
                  <a:close/>
                </a:path>
              </a:pathLst>
            </a:custGeom>
            <a:grpFill/>
            <a:ln w="7361" cap="flat">
              <a:solidFill>
                <a:schemeClr val="bg1"/>
              </a:solidFill>
              <a:prstDash val="solid"/>
              <a:miter/>
            </a:ln>
          </p:spPr>
          <p:txBody>
            <a:bodyPr rtlCol="0" anchor="ctr"/>
            <a:lstStyle/>
            <a:p>
              <a:endParaRPr lang="en-US"/>
            </a:p>
          </p:txBody>
        </p:sp>
        <p:sp>
          <p:nvSpPr>
            <p:cNvPr id="46" name="Freeform 351">
              <a:extLst>
                <a:ext uri="{FF2B5EF4-FFF2-40B4-BE49-F238E27FC236}">
                  <a16:creationId xmlns:a16="http://schemas.microsoft.com/office/drawing/2014/main" id="{695BAF62-BE55-154C-8866-C027A1239774}"/>
                </a:ext>
              </a:extLst>
            </p:cNvPr>
            <p:cNvSpPr/>
            <p:nvPr/>
          </p:nvSpPr>
          <p:spPr>
            <a:xfrm>
              <a:off x="1642709" y="2659232"/>
              <a:ext cx="48302" cy="48109"/>
            </a:xfrm>
            <a:custGeom>
              <a:avLst/>
              <a:gdLst>
                <a:gd name="connsiteX0" fmla="*/ 24151 w 48302"/>
                <a:gd name="connsiteY0" fmla="*/ 48109 h 48109"/>
                <a:gd name="connsiteX1" fmla="*/ 48302 w 48302"/>
                <a:gd name="connsiteY1" fmla="*/ 24055 h 48109"/>
                <a:gd name="connsiteX2" fmla="*/ 24151 w 48302"/>
                <a:gd name="connsiteY2" fmla="*/ 0 h 48109"/>
                <a:gd name="connsiteX3" fmla="*/ 0 w 48302"/>
                <a:gd name="connsiteY3" fmla="*/ 24055 h 48109"/>
                <a:gd name="connsiteX4" fmla="*/ 0 w 48302"/>
                <a:gd name="connsiteY4" fmla="*/ 24128 h 48109"/>
                <a:gd name="connsiteX5" fmla="*/ 24077 w 48302"/>
                <a:gd name="connsiteY5" fmla="*/ 48109 h 48109"/>
                <a:gd name="connsiteX6" fmla="*/ 24151 w 48302"/>
                <a:gd name="connsiteY6" fmla="*/ 48109 h 48109"/>
                <a:gd name="connsiteX7" fmla="*/ 24151 w 48302"/>
                <a:gd name="connsiteY7" fmla="*/ 9021 h 48109"/>
                <a:gd name="connsiteX8" fmla="*/ 39319 w 48302"/>
                <a:gd name="connsiteY8" fmla="*/ 24128 h 48109"/>
                <a:gd name="connsiteX9" fmla="*/ 24151 w 48302"/>
                <a:gd name="connsiteY9" fmla="*/ 39236 h 48109"/>
                <a:gd name="connsiteX10" fmla="*/ 8983 w 48302"/>
                <a:gd name="connsiteY10" fmla="*/ 24128 h 48109"/>
                <a:gd name="connsiteX11" fmla="*/ 24151 w 48302"/>
                <a:gd name="connsiteY11" fmla="*/ 9021 h 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2" h="48109">
                  <a:moveTo>
                    <a:pt x="24151" y="48109"/>
                  </a:moveTo>
                  <a:cubicBezTo>
                    <a:pt x="37486" y="48109"/>
                    <a:pt x="48302" y="37340"/>
                    <a:pt x="48302" y="24055"/>
                  </a:cubicBezTo>
                  <a:cubicBezTo>
                    <a:pt x="48302" y="10770"/>
                    <a:pt x="37486" y="0"/>
                    <a:pt x="24151" y="0"/>
                  </a:cubicBezTo>
                  <a:cubicBezTo>
                    <a:pt x="10809" y="0"/>
                    <a:pt x="0" y="10770"/>
                    <a:pt x="0" y="24055"/>
                  </a:cubicBezTo>
                  <a:cubicBezTo>
                    <a:pt x="0" y="24079"/>
                    <a:pt x="0" y="24104"/>
                    <a:pt x="0" y="24128"/>
                  </a:cubicBezTo>
                  <a:cubicBezTo>
                    <a:pt x="0" y="37373"/>
                    <a:pt x="10780" y="48109"/>
                    <a:pt x="24077" y="48109"/>
                  </a:cubicBezTo>
                  <a:cubicBezTo>
                    <a:pt x="24100" y="48109"/>
                    <a:pt x="24129" y="48109"/>
                    <a:pt x="24151" y="48109"/>
                  </a:cubicBezTo>
                  <a:close/>
                  <a:moveTo>
                    <a:pt x="24151" y="9021"/>
                  </a:moveTo>
                  <a:cubicBezTo>
                    <a:pt x="32530" y="9021"/>
                    <a:pt x="39319" y="15784"/>
                    <a:pt x="39319" y="24128"/>
                  </a:cubicBezTo>
                  <a:cubicBezTo>
                    <a:pt x="39319" y="32472"/>
                    <a:pt x="32530" y="39236"/>
                    <a:pt x="24151" y="39236"/>
                  </a:cubicBezTo>
                  <a:cubicBezTo>
                    <a:pt x="15772" y="39236"/>
                    <a:pt x="8983" y="32472"/>
                    <a:pt x="8983" y="24128"/>
                  </a:cubicBezTo>
                  <a:cubicBezTo>
                    <a:pt x="8983" y="15784"/>
                    <a:pt x="15772" y="9021"/>
                    <a:pt x="24151" y="9021"/>
                  </a:cubicBezTo>
                  <a:close/>
                </a:path>
              </a:pathLst>
            </a:custGeom>
            <a:grpFill/>
            <a:ln w="7361" cap="flat">
              <a:solidFill>
                <a:schemeClr val="bg1"/>
              </a:solidFill>
              <a:prstDash val="solid"/>
              <a:miter/>
            </a:ln>
          </p:spPr>
          <p:txBody>
            <a:bodyPr rtlCol="0" anchor="ctr"/>
            <a:lstStyle/>
            <a:p>
              <a:endParaRPr lang="en-US"/>
            </a:p>
          </p:txBody>
        </p:sp>
      </p:grpSp>
      <p:grpSp>
        <p:nvGrpSpPr>
          <p:cNvPr id="47" name="Group 348">
            <a:extLst>
              <a:ext uri="{FF2B5EF4-FFF2-40B4-BE49-F238E27FC236}">
                <a16:creationId xmlns:a16="http://schemas.microsoft.com/office/drawing/2014/main" id="{E7311D6C-0BB8-514E-B268-D1F6A3690034}"/>
              </a:ext>
            </a:extLst>
          </p:cNvPr>
          <p:cNvGrpSpPr>
            <a:grpSpLocks noChangeAspect="1"/>
          </p:cNvGrpSpPr>
          <p:nvPr/>
        </p:nvGrpSpPr>
        <p:grpSpPr>
          <a:xfrm>
            <a:off x="636078" y="4959350"/>
            <a:ext cx="551266" cy="648000"/>
            <a:chOff x="1609943" y="2649994"/>
            <a:chExt cx="225238" cy="264762"/>
          </a:xfrm>
          <a:solidFill>
            <a:schemeClr val="bg1"/>
          </a:solidFill>
        </p:grpSpPr>
        <p:sp>
          <p:nvSpPr>
            <p:cNvPr id="48" name="Freeform 349">
              <a:extLst>
                <a:ext uri="{FF2B5EF4-FFF2-40B4-BE49-F238E27FC236}">
                  <a16:creationId xmlns:a16="http://schemas.microsoft.com/office/drawing/2014/main" id="{557FA530-2663-DD40-A645-B3DC1C1FF7A4}"/>
                </a:ext>
              </a:extLst>
            </p:cNvPr>
            <p:cNvSpPr/>
            <p:nvPr/>
          </p:nvSpPr>
          <p:spPr>
            <a:xfrm>
              <a:off x="1720169" y="2649994"/>
              <a:ext cx="115012" cy="95262"/>
            </a:xfrm>
            <a:custGeom>
              <a:avLst/>
              <a:gdLst>
                <a:gd name="connsiteX0" fmla="*/ 113171 w 115012"/>
                <a:gd name="connsiteY0" fmla="*/ 804 h 95262"/>
                <a:gd name="connsiteX1" fmla="*/ 109048 w 115012"/>
                <a:gd name="connsiteY1" fmla="*/ 218 h 95262"/>
                <a:gd name="connsiteX2" fmla="*/ 56254 w 115012"/>
                <a:gd name="connsiteY2" fmla="*/ 18552 h 95262"/>
                <a:gd name="connsiteX3" fmla="*/ 20543 w 115012"/>
                <a:gd name="connsiteY3" fmla="*/ 18552 h 95262"/>
                <a:gd name="connsiteX4" fmla="*/ 0 w 115012"/>
                <a:gd name="connsiteY4" fmla="*/ 39013 h 95262"/>
                <a:gd name="connsiteX5" fmla="*/ 0 w 115012"/>
                <a:gd name="connsiteY5" fmla="*/ 41947 h 95262"/>
                <a:gd name="connsiteX6" fmla="*/ 20543 w 115012"/>
                <a:gd name="connsiteY6" fmla="*/ 62408 h 95262"/>
                <a:gd name="connsiteX7" fmla="*/ 26875 w 115012"/>
                <a:gd name="connsiteY7" fmla="*/ 62408 h 95262"/>
                <a:gd name="connsiteX8" fmla="*/ 26875 w 115012"/>
                <a:gd name="connsiteY8" fmla="*/ 84409 h 95262"/>
                <a:gd name="connsiteX9" fmla="*/ 37773 w 115012"/>
                <a:gd name="connsiteY9" fmla="*/ 95263 h 95262"/>
                <a:gd name="connsiteX10" fmla="*/ 41823 w 115012"/>
                <a:gd name="connsiteY10" fmla="*/ 95263 h 95262"/>
                <a:gd name="connsiteX11" fmla="*/ 52720 w 115012"/>
                <a:gd name="connsiteY11" fmla="*/ 84409 h 95262"/>
                <a:gd name="connsiteX12" fmla="*/ 52720 w 115012"/>
                <a:gd name="connsiteY12" fmla="*/ 62408 h 95262"/>
                <a:gd name="connsiteX13" fmla="*/ 56328 w 115012"/>
                <a:gd name="connsiteY13" fmla="*/ 62408 h 95262"/>
                <a:gd name="connsiteX14" fmla="*/ 109121 w 115012"/>
                <a:gd name="connsiteY14" fmla="*/ 80522 h 95262"/>
                <a:gd name="connsiteX15" fmla="*/ 110520 w 115012"/>
                <a:gd name="connsiteY15" fmla="*/ 80522 h 95262"/>
                <a:gd name="connsiteX16" fmla="*/ 113171 w 115012"/>
                <a:gd name="connsiteY16" fmla="*/ 79715 h 95262"/>
                <a:gd name="connsiteX17" fmla="*/ 115012 w 115012"/>
                <a:gd name="connsiteY17" fmla="*/ 76049 h 95262"/>
                <a:gd name="connsiteX18" fmla="*/ 115012 w 115012"/>
                <a:gd name="connsiteY18" fmla="*/ 4471 h 95262"/>
                <a:gd name="connsiteX19" fmla="*/ 113171 w 115012"/>
                <a:gd name="connsiteY19" fmla="*/ 804 h 95262"/>
                <a:gd name="connsiteX20" fmla="*/ 8909 w 115012"/>
                <a:gd name="connsiteY20" fmla="*/ 41947 h 95262"/>
                <a:gd name="connsiteX21" fmla="*/ 8909 w 115012"/>
                <a:gd name="connsiteY21" fmla="*/ 39013 h 95262"/>
                <a:gd name="connsiteX22" fmla="*/ 20543 w 115012"/>
                <a:gd name="connsiteY22" fmla="*/ 27426 h 95262"/>
                <a:gd name="connsiteX23" fmla="*/ 52573 w 115012"/>
                <a:gd name="connsiteY23" fmla="*/ 27426 h 95262"/>
                <a:gd name="connsiteX24" fmla="*/ 52573 w 115012"/>
                <a:gd name="connsiteY24" fmla="*/ 53681 h 95262"/>
                <a:gd name="connsiteX25" fmla="*/ 20543 w 115012"/>
                <a:gd name="connsiteY25" fmla="*/ 53681 h 95262"/>
                <a:gd name="connsiteX26" fmla="*/ 8909 w 115012"/>
                <a:gd name="connsiteY26" fmla="*/ 42094 h 95262"/>
                <a:gd name="connsiteX27" fmla="*/ 8909 w 115012"/>
                <a:gd name="connsiteY27" fmla="*/ 41947 h 95262"/>
                <a:gd name="connsiteX28" fmla="*/ 43737 w 115012"/>
                <a:gd name="connsiteY28" fmla="*/ 84702 h 95262"/>
                <a:gd name="connsiteX29" fmla="*/ 41823 w 115012"/>
                <a:gd name="connsiteY29" fmla="*/ 86609 h 95262"/>
                <a:gd name="connsiteX30" fmla="*/ 37773 w 115012"/>
                <a:gd name="connsiteY30" fmla="*/ 86609 h 95262"/>
                <a:gd name="connsiteX31" fmla="*/ 35785 w 115012"/>
                <a:gd name="connsiteY31" fmla="*/ 84777 h 95262"/>
                <a:gd name="connsiteX32" fmla="*/ 35785 w 115012"/>
                <a:gd name="connsiteY32" fmla="*/ 84702 h 95262"/>
                <a:gd name="connsiteX33" fmla="*/ 35785 w 115012"/>
                <a:gd name="connsiteY33" fmla="*/ 62701 h 95262"/>
                <a:gd name="connsiteX34" fmla="*/ 43737 w 115012"/>
                <a:gd name="connsiteY34" fmla="*/ 62701 h 95262"/>
                <a:gd name="connsiteX35" fmla="*/ 106103 w 115012"/>
                <a:gd name="connsiteY35" fmla="*/ 70035 h 95262"/>
                <a:gd name="connsiteX36" fmla="*/ 61556 w 115012"/>
                <a:gd name="connsiteY36" fmla="*/ 54781 h 95262"/>
                <a:gd name="connsiteX37" fmla="*/ 61556 w 115012"/>
                <a:gd name="connsiteY37" fmla="*/ 26179 h 95262"/>
                <a:gd name="connsiteX38" fmla="*/ 106103 w 115012"/>
                <a:gd name="connsiteY38" fmla="*/ 10705 h 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5012" h="95262">
                  <a:moveTo>
                    <a:pt x="113171" y="804"/>
                  </a:moveTo>
                  <a:cubicBezTo>
                    <a:pt x="111956" y="2"/>
                    <a:pt x="110439" y="-213"/>
                    <a:pt x="109048" y="218"/>
                  </a:cubicBezTo>
                  <a:lnTo>
                    <a:pt x="56254" y="18552"/>
                  </a:lnTo>
                  <a:lnTo>
                    <a:pt x="20543" y="18552"/>
                  </a:lnTo>
                  <a:cubicBezTo>
                    <a:pt x="9211" y="18592"/>
                    <a:pt x="37" y="27729"/>
                    <a:pt x="0" y="39013"/>
                  </a:cubicBezTo>
                  <a:lnTo>
                    <a:pt x="0" y="41947"/>
                  </a:lnTo>
                  <a:cubicBezTo>
                    <a:pt x="0" y="53247"/>
                    <a:pt x="9197" y="62408"/>
                    <a:pt x="20543" y="62408"/>
                  </a:cubicBezTo>
                  <a:lnTo>
                    <a:pt x="26875" y="62408"/>
                  </a:lnTo>
                  <a:lnTo>
                    <a:pt x="26875" y="84409"/>
                  </a:lnTo>
                  <a:cubicBezTo>
                    <a:pt x="26875" y="90404"/>
                    <a:pt x="31757" y="95263"/>
                    <a:pt x="37773" y="95263"/>
                  </a:cubicBezTo>
                  <a:lnTo>
                    <a:pt x="41823" y="95263"/>
                  </a:lnTo>
                  <a:cubicBezTo>
                    <a:pt x="47823" y="95223"/>
                    <a:pt x="52683" y="90387"/>
                    <a:pt x="52720" y="84409"/>
                  </a:cubicBezTo>
                  <a:lnTo>
                    <a:pt x="52720" y="62408"/>
                  </a:lnTo>
                  <a:lnTo>
                    <a:pt x="56328" y="62408"/>
                  </a:lnTo>
                  <a:lnTo>
                    <a:pt x="109121" y="80522"/>
                  </a:lnTo>
                  <a:cubicBezTo>
                    <a:pt x="109585" y="80593"/>
                    <a:pt x="110057" y="80593"/>
                    <a:pt x="110520" y="80522"/>
                  </a:cubicBezTo>
                  <a:cubicBezTo>
                    <a:pt x="111463" y="80516"/>
                    <a:pt x="112383" y="80235"/>
                    <a:pt x="113171" y="79715"/>
                  </a:cubicBezTo>
                  <a:cubicBezTo>
                    <a:pt x="114335" y="78854"/>
                    <a:pt x="115019" y="77493"/>
                    <a:pt x="115012" y="76049"/>
                  </a:cubicBezTo>
                  <a:lnTo>
                    <a:pt x="115012" y="4471"/>
                  </a:lnTo>
                  <a:cubicBezTo>
                    <a:pt x="115041" y="3021"/>
                    <a:pt x="114357" y="1650"/>
                    <a:pt x="113171" y="804"/>
                  </a:cubicBezTo>
                  <a:close/>
                  <a:moveTo>
                    <a:pt x="8909" y="41947"/>
                  </a:moveTo>
                  <a:lnTo>
                    <a:pt x="8909" y="39013"/>
                  </a:lnTo>
                  <a:cubicBezTo>
                    <a:pt x="8909" y="32614"/>
                    <a:pt x="14115" y="27426"/>
                    <a:pt x="20543" y="27426"/>
                  </a:cubicBezTo>
                  <a:lnTo>
                    <a:pt x="52573" y="27426"/>
                  </a:lnTo>
                  <a:lnTo>
                    <a:pt x="52573" y="53681"/>
                  </a:lnTo>
                  <a:lnTo>
                    <a:pt x="20543" y="53681"/>
                  </a:lnTo>
                  <a:cubicBezTo>
                    <a:pt x="14115" y="53681"/>
                    <a:pt x="8909" y="48494"/>
                    <a:pt x="8909" y="42094"/>
                  </a:cubicBezTo>
                  <a:cubicBezTo>
                    <a:pt x="8909" y="42045"/>
                    <a:pt x="8909" y="41996"/>
                    <a:pt x="8909" y="41947"/>
                  </a:cubicBezTo>
                  <a:close/>
                  <a:moveTo>
                    <a:pt x="43737" y="84702"/>
                  </a:moveTo>
                  <a:cubicBezTo>
                    <a:pt x="43737" y="85755"/>
                    <a:pt x="42883" y="86609"/>
                    <a:pt x="41823" y="86609"/>
                  </a:cubicBezTo>
                  <a:lnTo>
                    <a:pt x="37773" y="86609"/>
                  </a:lnTo>
                  <a:cubicBezTo>
                    <a:pt x="36720" y="86649"/>
                    <a:pt x="35829" y="85830"/>
                    <a:pt x="35785" y="84777"/>
                  </a:cubicBezTo>
                  <a:cubicBezTo>
                    <a:pt x="35785" y="84752"/>
                    <a:pt x="35785" y="84727"/>
                    <a:pt x="35785" y="84702"/>
                  </a:cubicBezTo>
                  <a:lnTo>
                    <a:pt x="35785" y="62701"/>
                  </a:lnTo>
                  <a:lnTo>
                    <a:pt x="43737" y="62701"/>
                  </a:lnTo>
                  <a:close/>
                  <a:moveTo>
                    <a:pt x="106103" y="70035"/>
                  </a:moveTo>
                  <a:lnTo>
                    <a:pt x="61556" y="54781"/>
                  </a:lnTo>
                  <a:lnTo>
                    <a:pt x="61556" y="26179"/>
                  </a:lnTo>
                  <a:lnTo>
                    <a:pt x="106103" y="10705"/>
                  </a:lnTo>
                  <a:close/>
                </a:path>
              </a:pathLst>
            </a:custGeom>
            <a:grpFill/>
            <a:ln w="7361" cap="flat">
              <a:solidFill>
                <a:schemeClr val="bg1"/>
              </a:solidFill>
              <a:prstDash val="solid"/>
              <a:miter/>
            </a:ln>
          </p:spPr>
          <p:txBody>
            <a:bodyPr rtlCol="0" anchor="ctr"/>
            <a:lstStyle/>
            <a:p>
              <a:endParaRPr lang="en-US"/>
            </a:p>
          </p:txBody>
        </p:sp>
        <p:sp>
          <p:nvSpPr>
            <p:cNvPr id="49" name="Freeform 350">
              <a:extLst>
                <a:ext uri="{FF2B5EF4-FFF2-40B4-BE49-F238E27FC236}">
                  <a16:creationId xmlns:a16="http://schemas.microsoft.com/office/drawing/2014/main" id="{40F32609-6E02-3D46-A1F1-DA5EDB75FD7C}"/>
                </a:ext>
              </a:extLst>
            </p:cNvPr>
            <p:cNvSpPr/>
            <p:nvPr/>
          </p:nvSpPr>
          <p:spPr>
            <a:xfrm>
              <a:off x="1609943" y="2714235"/>
              <a:ext cx="113760" cy="200521"/>
            </a:xfrm>
            <a:custGeom>
              <a:avLst/>
              <a:gdLst>
                <a:gd name="connsiteX0" fmla="*/ 86149 w 113760"/>
                <a:gd name="connsiteY0" fmla="*/ 0 h 200521"/>
                <a:gd name="connsiteX1" fmla="*/ 27685 w 113760"/>
                <a:gd name="connsiteY1" fmla="*/ 0 h 200521"/>
                <a:gd name="connsiteX2" fmla="*/ 0 w 113760"/>
                <a:gd name="connsiteY2" fmla="*/ 27575 h 200521"/>
                <a:gd name="connsiteX3" fmla="*/ 0 w 113760"/>
                <a:gd name="connsiteY3" fmla="*/ 88665 h 200521"/>
                <a:gd name="connsiteX4" fmla="*/ 15978 w 113760"/>
                <a:gd name="connsiteY4" fmla="*/ 104727 h 200521"/>
                <a:gd name="connsiteX5" fmla="*/ 17598 w 113760"/>
                <a:gd name="connsiteY5" fmla="*/ 104652 h 200521"/>
                <a:gd name="connsiteX6" fmla="*/ 23194 w 113760"/>
                <a:gd name="connsiteY6" fmla="*/ 102966 h 200521"/>
                <a:gd name="connsiteX7" fmla="*/ 23194 w 113760"/>
                <a:gd name="connsiteY7" fmla="*/ 181510 h 200521"/>
                <a:gd name="connsiteX8" fmla="*/ 42250 w 113760"/>
                <a:gd name="connsiteY8" fmla="*/ 200521 h 200521"/>
                <a:gd name="connsiteX9" fmla="*/ 56917 w 113760"/>
                <a:gd name="connsiteY9" fmla="*/ 193684 h 200521"/>
                <a:gd name="connsiteX10" fmla="*/ 83778 w 113760"/>
                <a:gd name="connsiteY10" fmla="*/ 196121 h 200521"/>
                <a:gd name="connsiteX11" fmla="*/ 90640 w 113760"/>
                <a:gd name="connsiteY11" fmla="*/ 181510 h 200521"/>
                <a:gd name="connsiteX12" fmla="*/ 90640 w 113760"/>
                <a:gd name="connsiteY12" fmla="*/ 102966 h 200521"/>
                <a:gd name="connsiteX13" fmla="*/ 96236 w 113760"/>
                <a:gd name="connsiteY13" fmla="*/ 104652 h 200521"/>
                <a:gd name="connsiteX14" fmla="*/ 113694 w 113760"/>
                <a:gd name="connsiteY14" fmla="*/ 90199 h 200521"/>
                <a:gd name="connsiteX15" fmla="*/ 113760 w 113760"/>
                <a:gd name="connsiteY15" fmla="*/ 88665 h 200521"/>
                <a:gd name="connsiteX16" fmla="*/ 113760 w 113760"/>
                <a:gd name="connsiteY16" fmla="*/ 27575 h 200521"/>
                <a:gd name="connsiteX17" fmla="*/ 86149 w 113760"/>
                <a:gd name="connsiteY17" fmla="*/ 0 h 200521"/>
                <a:gd name="connsiteX18" fmla="*/ 104925 w 113760"/>
                <a:gd name="connsiteY18" fmla="*/ 88665 h 200521"/>
                <a:gd name="connsiteX19" fmla="*/ 102568 w 113760"/>
                <a:gd name="connsiteY19" fmla="*/ 93945 h 200521"/>
                <a:gd name="connsiteX20" fmla="*/ 97046 w 113760"/>
                <a:gd name="connsiteY20" fmla="*/ 95779 h 200521"/>
                <a:gd name="connsiteX21" fmla="*/ 90640 w 113760"/>
                <a:gd name="connsiteY21" fmla="*/ 88445 h 200521"/>
                <a:gd name="connsiteX22" fmla="*/ 90640 w 113760"/>
                <a:gd name="connsiteY22" fmla="*/ 88445 h 200521"/>
                <a:gd name="connsiteX23" fmla="*/ 90640 w 113760"/>
                <a:gd name="connsiteY23" fmla="*/ 46203 h 200521"/>
                <a:gd name="connsiteX24" fmla="*/ 86222 w 113760"/>
                <a:gd name="connsiteY24" fmla="*/ 41802 h 200521"/>
                <a:gd name="connsiteX25" fmla="*/ 86149 w 113760"/>
                <a:gd name="connsiteY25" fmla="*/ 41802 h 200521"/>
                <a:gd name="connsiteX26" fmla="*/ 81657 w 113760"/>
                <a:gd name="connsiteY26" fmla="*/ 46203 h 200521"/>
                <a:gd name="connsiteX27" fmla="*/ 81657 w 113760"/>
                <a:gd name="connsiteY27" fmla="*/ 88152 h 200521"/>
                <a:gd name="connsiteX28" fmla="*/ 81657 w 113760"/>
                <a:gd name="connsiteY28" fmla="*/ 88152 h 200521"/>
                <a:gd name="connsiteX29" fmla="*/ 81657 w 113760"/>
                <a:gd name="connsiteY29" fmla="*/ 181510 h 200521"/>
                <a:gd name="connsiteX30" fmla="*/ 71496 w 113760"/>
                <a:gd name="connsiteY30" fmla="*/ 191631 h 200521"/>
                <a:gd name="connsiteX31" fmla="*/ 61335 w 113760"/>
                <a:gd name="connsiteY31" fmla="*/ 181510 h 200521"/>
                <a:gd name="connsiteX32" fmla="*/ 61335 w 113760"/>
                <a:gd name="connsiteY32" fmla="*/ 111033 h 200521"/>
                <a:gd name="connsiteX33" fmla="*/ 56917 w 113760"/>
                <a:gd name="connsiteY33" fmla="*/ 106632 h 200521"/>
                <a:gd name="connsiteX34" fmla="*/ 56843 w 113760"/>
                <a:gd name="connsiteY34" fmla="*/ 106633 h 200521"/>
                <a:gd name="connsiteX35" fmla="*/ 52352 w 113760"/>
                <a:gd name="connsiteY35" fmla="*/ 111033 h 200521"/>
                <a:gd name="connsiteX36" fmla="*/ 52352 w 113760"/>
                <a:gd name="connsiteY36" fmla="*/ 181510 h 200521"/>
                <a:gd name="connsiteX37" fmla="*/ 43089 w 113760"/>
                <a:gd name="connsiteY37" fmla="*/ 192455 h 200521"/>
                <a:gd name="connsiteX38" fmla="*/ 32103 w 113760"/>
                <a:gd name="connsiteY38" fmla="*/ 183231 h 200521"/>
                <a:gd name="connsiteX39" fmla="*/ 32103 w 113760"/>
                <a:gd name="connsiteY39" fmla="*/ 181510 h 200521"/>
                <a:gd name="connsiteX40" fmla="*/ 32103 w 113760"/>
                <a:gd name="connsiteY40" fmla="*/ 46203 h 200521"/>
                <a:gd name="connsiteX41" fmla="*/ 27612 w 113760"/>
                <a:gd name="connsiteY41" fmla="*/ 41802 h 200521"/>
                <a:gd name="connsiteX42" fmla="*/ 23120 w 113760"/>
                <a:gd name="connsiteY42" fmla="*/ 46129 h 200521"/>
                <a:gd name="connsiteX43" fmla="*/ 23120 w 113760"/>
                <a:gd name="connsiteY43" fmla="*/ 46203 h 200521"/>
                <a:gd name="connsiteX44" fmla="*/ 23120 w 113760"/>
                <a:gd name="connsiteY44" fmla="*/ 88152 h 200521"/>
                <a:gd name="connsiteX45" fmla="*/ 16714 w 113760"/>
                <a:gd name="connsiteY45" fmla="*/ 95485 h 200521"/>
                <a:gd name="connsiteX46" fmla="*/ 11192 w 113760"/>
                <a:gd name="connsiteY46" fmla="*/ 93652 h 200521"/>
                <a:gd name="connsiteX47" fmla="*/ 8836 w 113760"/>
                <a:gd name="connsiteY47" fmla="*/ 88372 h 200521"/>
                <a:gd name="connsiteX48" fmla="*/ 8836 w 113760"/>
                <a:gd name="connsiteY48" fmla="*/ 27575 h 200521"/>
                <a:gd name="connsiteX49" fmla="*/ 27612 w 113760"/>
                <a:gd name="connsiteY49" fmla="*/ 8874 h 200521"/>
                <a:gd name="connsiteX50" fmla="*/ 86075 w 113760"/>
                <a:gd name="connsiteY50" fmla="*/ 8874 h 200521"/>
                <a:gd name="connsiteX51" fmla="*/ 104851 w 113760"/>
                <a:gd name="connsiteY51" fmla="*/ 27575 h 20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3760" h="200521">
                  <a:moveTo>
                    <a:pt x="86149" y="0"/>
                  </a:moveTo>
                  <a:lnTo>
                    <a:pt x="27685" y="0"/>
                  </a:lnTo>
                  <a:cubicBezTo>
                    <a:pt x="12392" y="0"/>
                    <a:pt x="0" y="12346"/>
                    <a:pt x="0" y="27575"/>
                  </a:cubicBezTo>
                  <a:lnTo>
                    <a:pt x="0" y="88665"/>
                  </a:lnTo>
                  <a:cubicBezTo>
                    <a:pt x="-44" y="97495"/>
                    <a:pt x="7113" y="104686"/>
                    <a:pt x="15978" y="104727"/>
                  </a:cubicBezTo>
                  <a:cubicBezTo>
                    <a:pt x="16516" y="104730"/>
                    <a:pt x="17061" y="104705"/>
                    <a:pt x="17598" y="104652"/>
                  </a:cubicBezTo>
                  <a:cubicBezTo>
                    <a:pt x="19549" y="104438"/>
                    <a:pt x="21449" y="103866"/>
                    <a:pt x="23194" y="102966"/>
                  </a:cubicBezTo>
                  <a:lnTo>
                    <a:pt x="23194" y="181510"/>
                  </a:lnTo>
                  <a:cubicBezTo>
                    <a:pt x="23187" y="192000"/>
                    <a:pt x="31713" y="200512"/>
                    <a:pt x="42250" y="200521"/>
                  </a:cubicBezTo>
                  <a:cubicBezTo>
                    <a:pt x="47912" y="200527"/>
                    <a:pt x="53287" y="198021"/>
                    <a:pt x="56917" y="193684"/>
                  </a:cubicBezTo>
                  <a:cubicBezTo>
                    <a:pt x="63662" y="201745"/>
                    <a:pt x="75686" y="202835"/>
                    <a:pt x="83778" y="196121"/>
                  </a:cubicBezTo>
                  <a:cubicBezTo>
                    <a:pt x="88129" y="192509"/>
                    <a:pt x="90648" y="187154"/>
                    <a:pt x="90640" y="181510"/>
                  </a:cubicBezTo>
                  <a:lnTo>
                    <a:pt x="90640" y="102966"/>
                  </a:lnTo>
                  <a:cubicBezTo>
                    <a:pt x="92385" y="103866"/>
                    <a:pt x="94285" y="104438"/>
                    <a:pt x="96236" y="104652"/>
                  </a:cubicBezTo>
                  <a:cubicBezTo>
                    <a:pt x="105065" y="105463"/>
                    <a:pt x="112877" y="98992"/>
                    <a:pt x="113694" y="90199"/>
                  </a:cubicBezTo>
                  <a:cubicBezTo>
                    <a:pt x="113738" y="89689"/>
                    <a:pt x="113760" y="89177"/>
                    <a:pt x="113760" y="88665"/>
                  </a:cubicBezTo>
                  <a:lnTo>
                    <a:pt x="113760" y="27575"/>
                  </a:lnTo>
                  <a:cubicBezTo>
                    <a:pt x="113760" y="12374"/>
                    <a:pt x="101412" y="40"/>
                    <a:pt x="86149" y="0"/>
                  </a:cubicBezTo>
                  <a:close/>
                  <a:moveTo>
                    <a:pt x="104925" y="88665"/>
                  </a:moveTo>
                  <a:cubicBezTo>
                    <a:pt x="104895" y="90672"/>
                    <a:pt x="104048" y="92580"/>
                    <a:pt x="102568" y="93945"/>
                  </a:cubicBezTo>
                  <a:cubicBezTo>
                    <a:pt x="101059" y="95286"/>
                    <a:pt x="99064" y="95949"/>
                    <a:pt x="97046" y="95779"/>
                  </a:cubicBezTo>
                  <a:cubicBezTo>
                    <a:pt x="93357" y="95297"/>
                    <a:pt x="90611" y="92151"/>
                    <a:pt x="90640" y="88445"/>
                  </a:cubicBezTo>
                  <a:lnTo>
                    <a:pt x="90640" y="88445"/>
                  </a:lnTo>
                  <a:lnTo>
                    <a:pt x="90640" y="46203"/>
                  </a:lnTo>
                  <a:cubicBezTo>
                    <a:pt x="90640" y="43772"/>
                    <a:pt x="88660" y="41802"/>
                    <a:pt x="86222" y="41802"/>
                  </a:cubicBezTo>
                  <a:cubicBezTo>
                    <a:pt x="86200" y="41802"/>
                    <a:pt x="86171" y="41802"/>
                    <a:pt x="86149" y="41802"/>
                  </a:cubicBezTo>
                  <a:cubicBezTo>
                    <a:pt x="83697" y="41802"/>
                    <a:pt x="81694" y="43760"/>
                    <a:pt x="81657" y="46203"/>
                  </a:cubicBezTo>
                  <a:lnTo>
                    <a:pt x="81657" y="88152"/>
                  </a:lnTo>
                  <a:lnTo>
                    <a:pt x="81657" y="88152"/>
                  </a:lnTo>
                  <a:lnTo>
                    <a:pt x="81657" y="181510"/>
                  </a:lnTo>
                  <a:cubicBezTo>
                    <a:pt x="81657" y="187100"/>
                    <a:pt x="77107" y="191631"/>
                    <a:pt x="71496" y="191631"/>
                  </a:cubicBezTo>
                  <a:cubicBezTo>
                    <a:pt x="65885" y="191631"/>
                    <a:pt x="61335" y="187100"/>
                    <a:pt x="61335" y="181510"/>
                  </a:cubicBezTo>
                  <a:lnTo>
                    <a:pt x="61335" y="111033"/>
                  </a:lnTo>
                  <a:cubicBezTo>
                    <a:pt x="61335" y="108602"/>
                    <a:pt x="59354" y="106633"/>
                    <a:pt x="56917" y="106632"/>
                  </a:cubicBezTo>
                  <a:cubicBezTo>
                    <a:pt x="56895" y="106632"/>
                    <a:pt x="56866" y="106632"/>
                    <a:pt x="56843" y="106633"/>
                  </a:cubicBezTo>
                  <a:cubicBezTo>
                    <a:pt x="54392" y="106633"/>
                    <a:pt x="52389" y="108591"/>
                    <a:pt x="52352" y="111033"/>
                  </a:cubicBezTo>
                  <a:lnTo>
                    <a:pt x="52352" y="181510"/>
                  </a:lnTo>
                  <a:cubicBezTo>
                    <a:pt x="52831" y="187079"/>
                    <a:pt x="48685" y="191979"/>
                    <a:pt x="43089" y="192455"/>
                  </a:cubicBezTo>
                  <a:cubicBezTo>
                    <a:pt x="37501" y="192930"/>
                    <a:pt x="32582" y="188801"/>
                    <a:pt x="32103" y="183231"/>
                  </a:cubicBezTo>
                  <a:cubicBezTo>
                    <a:pt x="32052" y="182659"/>
                    <a:pt x="32052" y="182083"/>
                    <a:pt x="32103" y="181510"/>
                  </a:cubicBezTo>
                  <a:lnTo>
                    <a:pt x="32103" y="46203"/>
                  </a:lnTo>
                  <a:cubicBezTo>
                    <a:pt x="32067" y="43760"/>
                    <a:pt x="30064" y="41802"/>
                    <a:pt x="27612" y="41802"/>
                  </a:cubicBezTo>
                  <a:cubicBezTo>
                    <a:pt x="25175" y="41762"/>
                    <a:pt x="23165" y="43699"/>
                    <a:pt x="23120" y="46129"/>
                  </a:cubicBezTo>
                  <a:cubicBezTo>
                    <a:pt x="23120" y="46153"/>
                    <a:pt x="23120" y="46178"/>
                    <a:pt x="23120" y="46203"/>
                  </a:cubicBezTo>
                  <a:lnTo>
                    <a:pt x="23120" y="88152"/>
                  </a:lnTo>
                  <a:cubicBezTo>
                    <a:pt x="23150" y="91857"/>
                    <a:pt x="20403" y="95004"/>
                    <a:pt x="16714" y="95485"/>
                  </a:cubicBezTo>
                  <a:cubicBezTo>
                    <a:pt x="14690" y="95723"/>
                    <a:pt x="12665" y="95050"/>
                    <a:pt x="11192" y="93652"/>
                  </a:cubicBezTo>
                  <a:cubicBezTo>
                    <a:pt x="9712" y="92287"/>
                    <a:pt x="8865" y="90379"/>
                    <a:pt x="8836" y="88372"/>
                  </a:cubicBezTo>
                  <a:lnTo>
                    <a:pt x="8836" y="27575"/>
                  </a:lnTo>
                  <a:cubicBezTo>
                    <a:pt x="8836" y="17247"/>
                    <a:pt x="17245" y="8874"/>
                    <a:pt x="27612" y="8874"/>
                  </a:cubicBezTo>
                  <a:lnTo>
                    <a:pt x="86075" y="8874"/>
                  </a:lnTo>
                  <a:cubicBezTo>
                    <a:pt x="96442" y="8874"/>
                    <a:pt x="104851" y="17247"/>
                    <a:pt x="104851" y="27575"/>
                  </a:cubicBezTo>
                  <a:close/>
                </a:path>
              </a:pathLst>
            </a:custGeom>
            <a:grpFill/>
            <a:ln w="7361" cap="flat">
              <a:solidFill>
                <a:schemeClr val="bg1"/>
              </a:solidFill>
              <a:prstDash val="solid"/>
              <a:miter/>
            </a:ln>
          </p:spPr>
          <p:txBody>
            <a:bodyPr rtlCol="0" anchor="ctr"/>
            <a:lstStyle/>
            <a:p>
              <a:endParaRPr lang="en-US"/>
            </a:p>
          </p:txBody>
        </p:sp>
        <p:sp>
          <p:nvSpPr>
            <p:cNvPr id="50" name="Freeform 351">
              <a:extLst>
                <a:ext uri="{FF2B5EF4-FFF2-40B4-BE49-F238E27FC236}">
                  <a16:creationId xmlns:a16="http://schemas.microsoft.com/office/drawing/2014/main" id="{695BAF62-BE55-154C-8866-C027A1239774}"/>
                </a:ext>
              </a:extLst>
            </p:cNvPr>
            <p:cNvSpPr/>
            <p:nvPr/>
          </p:nvSpPr>
          <p:spPr>
            <a:xfrm>
              <a:off x="1642709" y="2659232"/>
              <a:ext cx="48302" cy="48109"/>
            </a:xfrm>
            <a:custGeom>
              <a:avLst/>
              <a:gdLst>
                <a:gd name="connsiteX0" fmla="*/ 24151 w 48302"/>
                <a:gd name="connsiteY0" fmla="*/ 48109 h 48109"/>
                <a:gd name="connsiteX1" fmla="*/ 48302 w 48302"/>
                <a:gd name="connsiteY1" fmla="*/ 24055 h 48109"/>
                <a:gd name="connsiteX2" fmla="*/ 24151 w 48302"/>
                <a:gd name="connsiteY2" fmla="*/ 0 h 48109"/>
                <a:gd name="connsiteX3" fmla="*/ 0 w 48302"/>
                <a:gd name="connsiteY3" fmla="*/ 24055 h 48109"/>
                <a:gd name="connsiteX4" fmla="*/ 0 w 48302"/>
                <a:gd name="connsiteY4" fmla="*/ 24128 h 48109"/>
                <a:gd name="connsiteX5" fmla="*/ 24077 w 48302"/>
                <a:gd name="connsiteY5" fmla="*/ 48109 h 48109"/>
                <a:gd name="connsiteX6" fmla="*/ 24151 w 48302"/>
                <a:gd name="connsiteY6" fmla="*/ 48109 h 48109"/>
                <a:gd name="connsiteX7" fmla="*/ 24151 w 48302"/>
                <a:gd name="connsiteY7" fmla="*/ 9021 h 48109"/>
                <a:gd name="connsiteX8" fmla="*/ 39319 w 48302"/>
                <a:gd name="connsiteY8" fmla="*/ 24128 h 48109"/>
                <a:gd name="connsiteX9" fmla="*/ 24151 w 48302"/>
                <a:gd name="connsiteY9" fmla="*/ 39236 h 48109"/>
                <a:gd name="connsiteX10" fmla="*/ 8983 w 48302"/>
                <a:gd name="connsiteY10" fmla="*/ 24128 h 48109"/>
                <a:gd name="connsiteX11" fmla="*/ 24151 w 48302"/>
                <a:gd name="connsiteY11" fmla="*/ 9021 h 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2" h="48109">
                  <a:moveTo>
                    <a:pt x="24151" y="48109"/>
                  </a:moveTo>
                  <a:cubicBezTo>
                    <a:pt x="37486" y="48109"/>
                    <a:pt x="48302" y="37340"/>
                    <a:pt x="48302" y="24055"/>
                  </a:cubicBezTo>
                  <a:cubicBezTo>
                    <a:pt x="48302" y="10770"/>
                    <a:pt x="37486" y="0"/>
                    <a:pt x="24151" y="0"/>
                  </a:cubicBezTo>
                  <a:cubicBezTo>
                    <a:pt x="10809" y="0"/>
                    <a:pt x="0" y="10770"/>
                    <a:pt x="0" y="24055"/>
                  </a:cubicBezTo>
                  <a:cubicBezTo>
                    <a:pt x="0" y="24079"/>
                    <a:pt x="0" y="24104"/>
                    <a:pt x="0" y="24128"/>
                  </a:cubicBezTo>
                  <a:cubicBezTo>
                    <a:pt x="0" y="37373"/>
                    <a:pt x="10780" y="48109"/>
                    <a:pt x="24077" y="48109"/>
                  </a:cubicBezTo>
                  <a:cubicBezTo>
                    <a:pt x="24100" y="48109"/>
                    <a:pt x="24129" y="48109"/>
                    <a:pt x="24151" y="48109"/>
                  </a:cubicBezTo>
                  <a:close/>
                  <a:moveTo>
                    <a:pt x="24151" y="9021"/>
                  </a:moveTo>
                  <a:cubicBezTo>
                    <a:pt x="32530" y="9021"/>
                    <a:pt x="39319" y="15784"/>
                    <a:pt x="39319" y="24128"/>
                  </a:cubicBezTo>
                  <a:cubicBezTo>
                    <a:pt x="39319" y="32472"/>
                    <a:pt x="32530" y="39236"/>
                    <a:pt x="24151" y="39236"/>
                  </a:cubicBezTo>
                  <a:cubicBezTo>
                    <a:pt x="15772" y="39236"/>
                    <a:pt x="8983" y="32472"/>
                    <a:pt x="8983" y="24128"/>
                  </a:cubicBezTo>
                  <a:cubicBezTo>
                    <a:pt x="8983" y="15784"/>
                    <a:pt x="15772" y="9021"/>
                    <a:pt x="24151" y="9021"/>
                  </a:cubicBezTo>
                  <a:close/>
                </a:path>
              </a:pathLst>
            </a:custGeom>
            <a:grpFill/>
            <a:ln w="7361" cap="flat">
              <a:solidFill>
                <a:schemeClr val="bg1"/>
              </a:solidFill>
              <a:prstDash val="solid"/>
              <a:miter/>
            </a:ln>
          </p:spPr>
          <p:txBody>
            <a:bodyPr rtlCol="0" anchor="ctr"/>
            <a:lstStyle/>
            <a:p>
              <a:endParaRPr lang="en-US"/>
            </a:p>
          </p:txBody>
        </p:sp>
      </p:grpSp>
      <p:sp>
        <p:nvSpPr>
          <p:cNvPr id="51" name="Ellipse 50">
            <a:extLst>
              <a:ext uri="{FF2B5EF4-FFF2-40B4-BE49-F238E27FC236}">
                <a16:creationId xmlns:a16="http://schemas.microsoft.com/office/drawing/2014/main" id="{D910C680-A94C-6A4A-A1C0-68776357678E}"/>
              </a:ext>
            </a:extLst>
          </p:cNvPr>
          <p:cNvSpPr>
            <a:spLocks noChangeAspect="1"/>
          </p:cNvSpPr>
          <p:nvPr/>
        </p:nvSpPr>
        <p:spPr bwMode="gray">
          <a:xfrm>
            <a:off x="333635" y="4864135"/>
            <a:ext cx="957559" cy="945942"/>
          </a:xfrm>
          <a:prstGeom prst="ellipse">
            <a:avLst/>
          </a:prstGeom>
          <a:solidFill>
            <a:srgbClr val="1F497D"/>
          </a:solidFill>
          <a:ln w="57150" algn="ctr">
            <a:solidFill>
              <a:schemeClr val="bg1"/>
            </a:solidFill>
            <a:miter lim="800000"/>
            <a:headEnd/>
            <a:tailEnd/>
          </a:ln>
          <a:effectLst/>
        </p:spPr>
        <p:txBody>
          <a:bodyPr wrap="none" lIns="0" tIns="0" rIns="0" bIns="36000" rtlCol="0" anchor="ct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CA" sz="2000" b="1" i="0" u="none" strike="noStrike" kern="0" cap="none" spc="0" normalizeH="0" baseline="0" noProof="0" dirty="0" smtClean="0">
              <a:ln>
                <a:noFill/>
              </a:ln>
              <a:solidFill>
                <a:srgbClr val="000000"/>
              </a:solidFill>
              <a:effectLst/>
              <a:uLnTx/>
              <a:uFillTx/>
              <a:cs typeface="Arial" pitchFamily="34" charset="0"/>
            </a:endParaRPr>
          </a:p>
        </p:txBody>
      </p:sp>
      <p:grpSp>
        <p:nvGrpSpPr>
          <p:cNvPr id="52" name="Group 348">
            <a:extLst>
              <a:ext uri="{FF2B5EF4-FFF2-40B4-BE49-F238E27FC236}">
                <a16:creationId xmlns:a16="http://schemas.microsoft.com/office/drawing/2014/main" id="{E7311D6C-0BB8-514E-B268-D1F6A3690034}"/>
              </a:ext>
            </a:extLst>
          </p:cNvPr>
          <p:cNvGrpSpPr>
            <a:grpSpLocks noChangeAspect="1"/>
          </p:cNvGrpSpPr>
          <p:nvPr/>
        </p:nvGrpSpPr>
        <p:grpSpPr>
          <a:xfrm>
            <a:off x="565216" y="5022709"/>
            <a:ext cx="551266" cy="648000"/>
            <a:chOff x="1609943" y="2649994"/>
            <a:chExt cx="225238" cy="264762"/>
          </a:xfrm>
          <a:solidFill>
            <a:schemeClr val="bg1"/>
          </a:solidFill>
        </p:grpSpPr>
        <p:sp>
          <p:nvSpPr>
            <p:cNvPr id="53" name="Freeform 349">
              <a:extLst>
                <a:ext uri="{FF2B5EF4-FFF2-40B4-BE49-F238E27FC236}">
                  <a16:creationId xmlns:a16="http://schemas.microsoft.com/office/drawing/2014/main" id="{557FA530-2663-DD40-A645-B3DC1C1FF7A4}"/>
                </a:ext>
              </a:extLst>
            </p:cNvPr>
            <p:cNvSpPr/>
            <p:nvPr/>
          </p:nvSpPr>
          <p:spPr>
            <a:xfrm>
              <a:off x="1720169" y="2649994"/>
              <a:ext cx="115012" cy="95262"/>
            </a:xfrm>
            <a:custGeom>
              <a:avLst/>
              <a:gdLst>
                <a:gd name="connsiteX0" fmla="*/ 113171 w 115012"/>
                <a:gd name="connsiteY0" fmla="*/ 804 h 95262"/>
                <a:gd name="connsiteX1" fmla="*/ 109048 w 115012"/>
                <a:gd name="connsiteY1" fmla="*/ 218 h 95262"/>
                <a:gd name="connsiteX2" fmla="*/ 56254 w 115012"/>
                <a:gd name="connsiteY2" fmla="*/ 18552 h 95262"/>
                <a:gd name="connsiteX3" fmla="*/ 20543 w 115012"/>
                <a:gd name="connsiteY3" fmla="*/ 18552 h 95262"/>
                <a:gd name="connsiteX4" fmla="*/ 0 w 115012"/>
                <a:gd name="connsiteY4" fmla="*/ 39013 h 95262"/>
                <a:gd name="connsiteX5" fmla="*/ 0 w 115012"/>
                <a:gd name="connsiteY5" fmla="*/ 41947 h 95262"/>
                <a:gd name="connsiteX6" fmla="*/ 20543 w 115012"/>
                <a:gd name="connsiteY6" fmla="*/ 62408 h 95262"/>
                <a:gd name="connsiteX7" fmla="*/ 26875 w 115012"/>
                <a:gd name="connsiteY7" fmla="*/ 62408 h 95262"/>
                <a:gd name="connsiteX8" fmla="*/ 26875 w 115012"/>
                <a:gd name="connsiteY8" fmla="*/ 84409 h 95262"/>
                <a:gd name="connsiteX9" fmla="*/ 37773 w 115012"/>
                <a:gd name="connsiteY9" fmla="*/ 95263 h 95262"/>
                <a:gd name="connsiteX10" fmla="*/ 41823 w 115012"/>
                <a:gd name="connsiteY10" fmla="*/ 95263 h 95262"/>
                <a:gd name="connsiteX11" fmla="*/ 52720 w 115012"/>
                <a:gd name="connsiteY11" fmla="*/ 84409 h 95262"/>
                <a:gd name="connsiteX12" fmla="*/ 52720 w 115012"/>
                <a:gd name="connsiteY12" fmla="*/ 62408 h 95262"/>
                <a:gd name="connsiteX13" fmla="*/ 56328 w 115012"/>
                <a:gd name="connsiteY13" fmla="*/ 62408 h 95262"/>
                <a:gd name="connsiteX14" fmla="*/ 109121 w 115012"/>
                <a:gd name="connsiteY14" fmla="*/ 80522 h 95262"/>
                <a:gd name="connsiteX15" fmla="*/ 110520 w 115012"/>
                <a:gd name="connsiteY15" fmla="*/ 80522 h 95262"/>
                <a:gd name="connsiteX16" fmla="*/ 113171 w 115012"/>
                <a:gd name="connsiteY16" fmla="*/ 79715 h 95262"/>
                <a:gd name="connsiteX17" fmla="*/ 115012 w 115012"/>
                <a:gd name="connsiteY17" fmla="*/ 76049 h 95262"/>
                <a:gd name="connsiteX18" fmla="*/ 115012 w 115012"/>
                <a:gd name="connsiteY18" fmla="*/ 4471 h 95262"/>
                <a:gd name="connsiteX19" fmla="*/ 113171 w 115012"/>
                <a:gd name="connsiteY19" fmla="*/ 804 h 95262"/>
                <a:gd name="connsiteX20" fmla="*/ 8909 w 115012"/>
                <a:gd name="connsiteY20" fmla="*/ 41947 h 95262"/>
                <a:gd name="connsiteX21" fmla="*/ 8909 w 115012"/>
                <a:gd name="connsiteY21" fmla="*/ 39013 h 95262"/>
                <a:gd name="connsiteX22" fmla="*/ 20543 w 115012"/>
                <a:gd name="connsiteY22" fmla="*/ 27426 h 95262"/>
                <a:gd name="connsiteX23" fmla="*/ 52573 w 115012"/>
                <a:gd name="connsiteY23" fmla="*/ 27426 h 95262"/>
                <a:gd name="connsiteX24" fmla="*/ 52573 w 115012"/>
                <a:gd name="connsiteY24" fmla="*/ 53681 h 95262"/>
                <a:gd name="connsiteX25" fmla="*/ 20543 w 115012"/>
                <a:gd name="connsiteY25" fmla="*/ 53681 h 95262"/>
                <a:gd name="connsiteX26" fmla="*/ 8909 w 115012"/>
                <a:gd name="connsiteY26" fmla="*/ 42094 h 95262"/>
                <a:gd name="connsiteX27" fmla="*/ 8909 w 115012"/>
                <a:gd name="connsiteY27" fmla="*/ 41947 h 95262"/>
                <a:gd name="connsiteX28" fmla="*/ 43737 w 115012"/>
                <a:gd name="connsiteY28" fmla="*/ 84702 h 95262"/>
                <a:gd name="connsiteX29" fmla="*/ 41823 w 115012"/>
                <a:gd name="connsiteY29" fmla="*/ 86609 h 95262"/>
                <a:gd name="connsiteX30" fmla="*/ 37773 w 115012"/>
                <a:gd name="connsiteY30" fmla="*/ 86609 h 95262"/>
                <a:gd name="connsiteX31" fmla="*/ 35785 w 115012"/>
                <a:gd name="connsiteY31" fmla="*/ 84777 h 95262"/>
                <a:gd name="connsiteX32" fmla="*/ 35785 w 115012"/>
                <a:gd name="connsiteY32" fmla="*/ 84702 h 95262"/>
                <a:gd name="connsiteX33" fmla="*/ 35785 w 115012"/>
                <a:gd name="connsiteY33" fmla="*/ 62701 h 95262"/>
                <a:gd name="connsiteX34" fmla="*/ 43737 w 115012"/>
                <a:gd name="connsiteY34" fmla="*/ 62701 h 95262"/>
                <a:gd name="connsiteX35" fmla="*/ 106103 w 115012"/>
                <a:gd name="connsiteY35" fmla="*/ 70035 h 95262"/>
                <a:gd name="connsiteX36" fmla="*/ 61556 w 115012"/>
                <a:gd name="connsiteY36" fmla="*/ 54781 h 95262"/>
                <a:gd name="connsiteX37" fmla="*/ 61556 w 115012"/>
                <a:gd name="connsiteY37" fmla="*/ 26179 h 95262"/>
                <a:gd name="connsiteX38" fmla="*/ 106103 w 115012"/>
                <a:gd name="connsiteY38" fmla="*/ 10705 h 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5012" h="95262">
                  <a:moveTo>
                    <a:pt x="113171" y="804"/>
                  </a:moveTo>
                  <a:cubicBezTo>
                    <a:pt x="111956" y="2"/>
                    <a:pt x="110439" y="-213"/>
                    <a:pt x="109048" y="218"/>
                  </a:cubicBezTo>
                  <a:lnTo>
                    <a:pt x="56254" y="18552"/>
                  </a:lnTo>
                  <a:lnTo>
                    <a:pt x="20543" y="18552"/>
                  </a:lnTo>
                  <a:cubicBezTo>
                    <a:pt x="9211" y="18592"/>
                    <a:pt x="37" y="27729"/>
                    <a:pt x="0" y="39013"/>
                  </a:cubicBezTo>
                  <a:lnTo>
                    <a:pt x="0" y="41947"/>
                  </a:lnTo>
                  <a:cubicBezTo>
                    <a:pt x="0" y="53247"/>
                    <a:pt x="9197" y="62408"/>
                    <a:pt x="20543" y="62408"/>
                  </a:cubicBezTo>
                  <a:lnTo>
                    <a:pt x="26875" y="62408"/>
                  </a:lnTo>
                  <a:lnTo>
                    <a:pt x="26875" y="84409"/>
                  </a:lnTo>
                  <a:cubicBezTo>
                    <a:pt x="26875" y="90404"/>
                    <a:pt x="31757" y="95263"/>
                    <a:pt x="37773" y="95263"/>
                  </a:cubicBezTo>
                  <a:lnTo>
                    <a:pt x="41823" y="95263"/>
                  </a:lnTo>
                  <a:cubicBezTo>
                    <a:pt x="47823" y="95223"/>
                    <a:pt x="52683" y="90387"/>
                    <a:pt x="52720" y="84409"/>
                  </a:cubicBezTo>
                  <a:lnTo>
                    <a:pt x="52720" y="62408"/>
                  </a:lnTo>
                  <a:lnTo>
                    <a:pt x="56328" y="62408"/>
                  </a:lnTo>
                  <a:lnTo>
                    <a:pt x="109121" y="80522"/>
                  </a:lnTo>
                  <a:cubicBezTo>
                    <a:pt x="109585" y="80593"/>
                    <a:pt x="110057" y="80593"/>
                    <a:pt x="110520" y="80522"/>
                  </a:cubicBezTo>
                  <a:cubicBezTo>
                    <a:pt x="111463" y="80516"/>
                    <a:pt x="112383" y="80235"/>
                    <a:pt x="113171" y="79715"/>
                  </a:cubicBezTo>
                  <a:cubicBezTo>
                    <a:pt x="114335" y="78854"/>
                    <a:pt x="115019" y="77493"/>
                    <a:pt x="115012" y="76049"/>
                  </a:cubicBezTo>
                  <a:lnTo>
                    <a:pt x="115012" y="4471"/>
                  </a:lnTo>
                  <a:cubicBezTo>
                    <a:pt x="115041" y="3021"/>
                    <a:pt x="114357" y="1650"/>
                    <a:pt x="113171" y="804"/>
                  </a:cubicBezTo>
                  <a:close/>
                  <a:moveTo>
                    <a:pt x="8909" y="41947"/>
                  </a:moveTo>
                  <a:lnTo>
                    <a:pt x="8909" y="39013"/>
                  </a:lnTo>
                  <a:cubicBezTo>
                    <a:pt x="8909" y="32614"/>
                    <a:pt x="14115" y="27426"/>
                    <a:pt x="20543" y="27426"/>
                  </a:cubicBezTo>
                  <a:lnTo>
                    <a:pt x="52573" y="27426"/>
                  </a:lnTo>
                  <a:lnTo>
                    <a:pt x="52573" y="53681"/>
                  </a:lnTo>
                  <a:lnTo>
                    <a:pt x="20543" y="53681"/>
                  </a:lnTo>
                  <a:cubicBezTo>
                    <a:pt x="14115" y="53681"/>
                    <a:pt x="8909" y="48494"/>
                    <a:pt x="8909" y="42094"/>
                  </a:cubicBezTo>
                  <a:cubicBezTo>
                    <a:pt x="8909" y="42045"/>
                    <a:pt x="8909" y="41996"/>
                    <a:pt x="8909" y="41947"/>
                  </a:cubicBezTo>
                  <a:close/>
                  <a:moveTo>
                    <a:pt x="43737" y="84702"/>
                  </a:moveTo>
                  <a:cubicBezTo>
                    <a:pt x="43737" y="85755"/>
                    <a:pt x="42883" y="86609"/>
                    <a:pt x="41823" y="86609"/>
                  </a:cubicBezTo>
                  <a:lnTo>
                    <a:pt x="37773" y="86609"/>
                  </a:lnTo>
                  <a:cubicBezTo>
                    <a:pt x="36720" y="86649"/>
                    <a:pt x="35829" y="85830"/>
                    <a:pt x="35785" y="84777"/>
                  </a:cubicBezTo>
                  <a:cubicBezTo>
                    <a:pt x="35785" y="84752"/>
                    <a:pt x="35785" y="84727"/>
                    <a:pt x="35785" y="84702"/>
                  </a:cubicBezTo>
                  <a:lnTo>
                    <a:pt x="35785" y="62701"/>
                  </a:lnTo>
                  <a:lnTo>
                    <a:pt x="43737" y="62701"/>
                  </a:lnTo>
                  <a:close/>
                  <a:moveTo>
                    <a:pt x="106103" y="70035"/>
                  </a:moveTo>
                  <a:lnTo>
                    <a:pt x="61556" y="54781"/>
                  </a:lnTo>
                  <a:lnTo>
                    <a:pt x="61556" y="26179"/>
                  </a:lnTo>
                  <a:lnTo>
                    <a:pt x="106103" y="10705"/>
                  </a:lnTo>
                  <a:close/>
                </a:path>
              </a:pathLst>
            </a:custGeom>
            <a:grpFill/>
            <a:ln w="7361" cap="flat">
              <a:solidFill>
                <a:schemeClr val="bg1"/>
              </a:solidFill>
              <a:prstDash val="solid"/>
              <a:miter/>
            </a:ln>
          </p:spPr>
          <p:txBody>
            <a:bodyPr rtlCol="0" anchor="ctr"/>
            <a:lstStyle/>
            <a:p>
              <a:endParaRPr lang="en-US"/>
            </a:p>
          </p:txBody>
        </p:sp>
        <p:sp>
          <p:nvSpPr>
            <p:cNvPr id="54" name="Freeform 350">
              <a:extLst>
                <a:ext uri="{FF2B5EF4-FFF2-40B4-BE49-F238E27FC236}">
                  <a16:creationId xmlns:a16="http://schemas.microsoft.com/office/drawing/2014/main" id="{40F32609-6E02-3D46-A1F1-DA5EDB75FD7C}"/>
                </a:ext>
              </a:extLst>
            </p:cNvPr>
            <p:cNvSpPr/>
            <p:nvPr/>
          </p:nvSpPr>
          <p:spPr>
            <a:xfrm>
              <a:off x="1609943" y="2714235"/>
              <a:ext cx="113760" cy="200521"/>
            </a:xfrm>
            <a:custGeom>
              <a:avLst/>
              <a:gdLst>
                <a:gd name="connsiteX0" fmla="*/ 86149 w 113760"/>
                <a:gd name="connsiteY0" fmla="*/ 0 h 200521"/>
                <a:gd name="connsiteX1" fmla="*/ 27685 w 113760"/>
                <a:gd name="connsiteY1" fmla="*/ 0 h 200521"/>
                <a:gd name="connsiteX2" fmla="*/ 0 w 113760"/>
                <a:gd name="connsiteY2" fmla="*/ 27575 h 200521"/>
                <a:gd name="connsiteX3" fmla="*/ 0 w 113760"/>
                <a:gd name="connsiteY3" fmla="*/ 88665 h 200521"/>
                <a:gd name="connsiteX4" fmla="*/ 15978 w 113760"/>
                <a:gd name="connsiteY4" fmla="*/ 104727 h 200521"/>
                <a:gd name="connsiteX5" fmla="*/ 17598 w 113760"/>
                <a:gd name="connsiteY5" fmla="*/ 104652 h 200521"/>
                <a:gd name="connsiteX6" fmla="*/ 23194 w 113760"/>
                <a:gd name="connsiteY6" fmla="*/ 102966 h 200521"/>
                <a:gd name="connsiteX7" fmla="*/ 23194 w 113760"/>
                <a:gd name="connsiteY7" fmla="*/ 181510 h 200521"/>
                <a:gd name="connsiteX8" fmla="*/ 42250 w 113760"/>
                <a:gd name="connsiteY8" fmla="*/ 200521 h 200521"/>
                <a:gd name="connsiteX9" fmla="*/ 56917 w 113760"/>
                <a:gd name="connsiteY9" fmla="*/ 193684 h 200521"/>
                <a:gd name="connsiteX10" fmla="*/ 83778 w 113760"/>
                <a:gd name="connsiteY10" fmla="*/ 196121 h 200521"/>
                <a:gd name="connsiteX11" fmla="*/ 90640 w 113760"/>
                <a:gd name="connsiteY11" fmla="*/ 181510 h 200521"/>
                <a:gd name="connsiteX12" fmla="*/ 90640 w 113760"/>
                <a:gd name="connsiteY12" fmla="*/ 102966 h 200521"/>
                <a:gd name="connsiteX13" fmla="*/ 96236 w 113760"/>
                <a:gd name="connsiteY13" fmla="*/ 104652 h 200521"/>
                <a:gd name="connsiteX14" fmla="*/ 113694 w 113760"/>
                <a:gd name="connsiteY14" fmla="*/ 90199 h 200521"/>
                <a:gd name="connsiteX15" fmla="*/ 113760 w 113760"/>
                <a:gd name="connsiteY15" fmla="*/ 88665 h 200521"/>
                <a:gd name="connsiteX16" fmla="*/ 113760 w 113760"/>
                <a:gd name="connsiteY16" fmla="*/ 27575 h 200521"/>
                <a:gd name="connsiteX17" fmla="*/ 86149 w 113760"/>
                <a:gd name="connsiteY17" fmla="*/ 0 h 200521"/>
                <a:gd name="connsiteX18" fmla="*/ 104925 w 113760"/>
                <a:gd name="connsiteY18" fmla="*/ 88665 h 200521"/>
                <a:gd name="connsiteX19" fmla="*/ 102568 w 113760"/>
                <a:gd name="connsiteY19" fmla="*/ 93945 h 200521"/>
                <a:gd name="connsiteX20" fmla="*/ 97046 w 113760"/>
                <a:gd name="connsiteY20" fmla="*/ 95779 h 200521"/>
                <a:gd name="connsiteX21" fmla="*/ 90640 w 113760"/>
                <a:gd name="connsiteY21" fmla="*/ 88445 h 200521"/>
                <a:gd name="connsiteX22" fmla="*/ 90640 w 113760"/>
                <a:gd name="connsiteY22" fmla="*/ 88445 h 200521"/>
                <a:gd name="connsiteX23" fmla="*/ 90640 w 113760"/>
                <a:gd name="connsiteY23" fmla="*/ 46203 h 200521"/>
                <a:gd name="connsiteX24" fmla="*/ 86222 w 113760"/>
                <a:gd name="connsiteY24" fmla="*/ 41802 h 200521"/>
                <a:gd name="connsiteX25" fmla="*/ 86149 w 113760"/>
                <a:gd name="connsiteY25" fmla="*/ 41802 h 200521"/>
                <a:gd name="connsiteX26" fmla="*/ 81657 w 113760"/>
                <a:gd name="connsiteY26" fmla="*/ 46203 h 200521"/>
                <a:gd name="connsiteX27" fmla="*/ 81657 w 113760"/>
                <a:gd name="connsiteY27" fmla="*/ 88152 h 200521"/>
                <a:gd name="connsiteX28" fmla="*/ 81657 w 113760"/>
                <a:gd name="connsiteY28" fmla="*/ 88152 h 200521"/>
                <a:gd name="connsiteX29" fmla="*/ 81657 w 113760"/>
                <a:gd name="connsiteY29" fmla="*/ 181510 h 200521"/>
                <a:gd name="connsiteX30" fmla="*/ 71496 w 113760"/>
                <a:gd name="connsiteY30" fmla="*/ 191631 h 200521"/>
                <a:gd name="connsiteX31" fmla="*/ 61335 w 113760"/>
                <a:gd name="connsiteY31" fmla="*/ 181510 h 200521"/>
                <a:gd name="connsiteX32" fmla="*/ 61335 w 113760"/>
                <a:gd name="connsiteY32" fmla="*/ 111033 h 200521"/>
                <a:gd name="connsiteX33" fmla="*/ 56917 w 113760"/>
                <a:gd name="connsiteY33" fmla="*/ 106632 h 200521"/>
                <a:gd name="connsiteX34" fmla="*/ 56843 w 113760"/>
                <a:gd name="connsiteY34" fmla="*/ 106633 h 200521"/>
                <a:gd name="connsiteX35" fmla="*/ 52352 w 113760"/>
                <a:gd name="connsiteY35" fmla="*/ 111033 h 200521"/>
                <a:gd name="connsiteX36" fmla="*/ 52352 w 113760"/>
                <a:gd name="connsiteY36" fmla="*/ 181510 h 200521"/>
                <a:gd name="connsiteX37" fmla="*/ 43089 w 113760"/>
                <a:gd name="connsiteY37" fmla="*/ 192455 h 200521"/>
                <a:gd name="connsiteX38" fmla="*/ 32103 w 113760"/>
                <a:gd name="connsiteY38" fmla="*/ 183231 h 200521"/>
                <a:gd name="connsiteX39" fmla="*/ 32103 w 113760"/>
                <a:gd name="connsiteY39" fmla="*/ 181510 h 200521"/>
                <a:gd name="connsiteX40" fmla="*/ 32103 w 113760"/>
                <a:gd name="connsiteY40" fmla="*/ 46203 h 200521"/>
                <a:gd name="connsiteX41" fmla="*/ 27612 w 113760"/>
                <a:gd name="connsiteY41" fmla="*/ 41802 h 200521"/>
                <a:gd name="connsiteX42" fmla="*/ 23120 w 113760"/>
                <a:gd name="connsiteY42" fmla="*/ 46129 h 200521"/>
                <a:gd name="connsiteX43" fmla="*/ 23120 w 113760"/>
                <a:gd name="connsiteY43" fmla="*/ 46203 h 200521"/>
                <a:gd name="connsiteX44" fmla="*/ 23120 w 113760"/>
                <a:gd name="connsiteY44" fmla="*/ 88152 h 200521"/>
                <a:gd name="connsiteX45" fmla="*/ 16714 w 113760"/>
                <a:gd name="connsiteY45" fmla="*/ 95485 h 200521"/>
                <a:gd name="connsiteX46" fmla="*/ 11192 w 113760"/>
                <a:gd name="connsiteY46" fmla="*/ 93652 h 200521"/>
                <a:gd name="connsiteX47" fmla="*/ 8836 w 113760"/>
                <a:gd name="connsiteY47" fmla="*/ 88372 h 200521"/>
                <a:gd name="connsiteX48" fmla="*/ 8836 w 113760"/>
                <a:gd name="connsiteY48" fmla="*/ 27575 h 200521"/>
                <a:gd name="connsiteX49" fmla="*/ 27612 w 113760"/>
                <a:gd name="connsiteY49" fmla="*/ 8874 h 200521"/>
                <a:gd name="connsiteX50" fmla="*/ 86075 w 113760"/>
                <a:gd name="connsiteY50" fmla="*/ 8874 h 200521"/>
                <a:gd name="connsiteX51" fmla="*/ 104851 w 113760"/>
                <a:gd name="connsiteY51" fmla="*/ 27575 h 20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3760" h="200521">
                  <a:moveTo>
                    <a:pt x="86149" y="0"/>
                  </a:moveTo>
                  <a:lnTo>
                    <a:pt x="27685" y="0"/>
                  </a:lnTo>
                  <a:cubicBezTo>
                    <a:pt x="12392" y="0"/>
                    <a:pt x="0" y="12346"/>
                    <a:pt x="0" y="27575"/>
                  </a:cubicBezTo>
                  <a:lnTo>
                    <a:pt x="0" y="88665"/>
                  </a:lnTo>
                  <a:cubicBezTo>
                    <a:pt x="-44" y="97495"/>
                    <a:pt x="7113" y="104686"/>
                    <a:pt x="15978" y="104727"/>
                  </a:cubicBezTo>
                  <a:cubicBezTo>
                    <a:pt x="16516" y="104730"/>
                    <a:pt x="17061" y="104705"/>
                    <a:pt x="17598" y="104652"/>
                  </a:cubicBezTo>
                  <a:cubicBezTo>
                    <a:pt x="19549" y="104438"/>
                    <a:pt x="21449" y="103866"/>
                    <a:pt x="23194" y="102966"/>
                  </a:cubicBezTo>
                  <a:lnTo>
                    <a:pt x="23194" y="181510"/>
                  </a:lnTo>
                  <a:cubicBezTo>
                    <a:pt x="23187" y="192000"/>
                    <a:pt x="31713" y="200512"/>
                    <a:pt x="42250" y="200521"/>
                  </a:cubicBezTo>
                  <a:cubicBezTo>
                    <a:pt x="47912" y="200527"/>
                    <a:pt x="53287" y="198021"/>
                    <a:pt x="56917" y="193684"/>
                  </a:cubicBezTo>
                  <a:cubicBezTo>
                    <a:pt x="63662" y="201745"/>
                    <a:pt x="75686" y="202835"/>
                    <a:pt x="83778" y="196121"/>
                  </a:cubicBezTo>
                  <a:cubicBezTo>
                    <a:pt x="88129" y="192509"/>
                    <a:pt x="90648" y="187154"/>
                    <a:pt x="90640" y="181510"/>
                  </a:cubicBezTo>
                  <a:lnTo>
                    <a:pt x="90640" y="102966"/>
                  </a:lnTo>
                  <a:cubicBezTo>
                    <a:pt x="92385" y="103866"/>
                    <a:pt x="94285" y="104438"/>
                    <a:pt x="96236" y="104652"/>
                  </a:cubicBezTo>
                  <a:cubicBezTo>
                    <a:pt x="105065" y="105463"/>
                    <a:pt x="112877" y="98992"/>
                    <a:pt x="113694" y="90199"/>
                  </a:cubicBezTo>
                  <a:cubicBezTo>
                    <a:pt x="113738" y="89689"/>
                    <a:pt x="113760" y="89177"/>
                    <a:pt x="113760" y="88665"/>
                  </a:cubicBezTo>
                  <a:lnTo>
                    <a:pt x="113760" y="27575"/>
                  </a:lnTo>
                  <a:cubicBezTo>
                    <a:pt x="113760" y="12374"/>
                    <a:pt x="101412" y="40"/>
                    <a:pt x="86149" y="0"/>
                  </a:cubicBezTo>
                  <a:close/>
                  <a:moveTo>
                    <a:pt x="104925" y="88665"/>
                  </a:moveTo>
                  <a:cubicBezTo>
                    <a:pt x="104895" y="90672"/>
                    <a:pt x="104048" y="92580"/>
                    <a:pt x="102568" y="93945"/>
                  </a:cubicBezTo>
                  <a:cubicBezTo>
                    <a:pt x="101059" y="95286"/>
                    <a:pt x="99064" y="95949"/>
                    <a:pt x="97046" y="95779"/>
                  </a:cubicBezTo>
                  <a:cubicBezTo>
                    <a:pt x="93357" y="95297"/>
                    <a:pt x="90611" y="92151"/>
                    <a:pt x="90640" y="88445"/>
                  </a:cubicBezTo>
                  <a:lnTo>
                    <a:pt x="90640" y="88445"/>
                  </a:lnTo>
                  <a:lnTo>
                    <a:pt x="90640" y="46203"/>
                  </a:lnTo>
                  <a:cubicBezTo>
                    <a:pt x="90640" y="43772"/>
                    <a:pt x="88660" y="41802"/>
                    <a:pt x="86222" y="41802"/>
                  </a:cubicBezTo>
                  <a:cubicBezTo>
                    <a:pt x="86200" y="41802"/>
                    <a:pt x="86171" y="41802"/>
                    <a:pt x="86149" y="41802"/>
                  </a:cubicBezTo>
                  <a:cubicBezTo>
                    <a:pt x="83697" y="41802"/>
                    <a:pt x="81694" y="43760"/>
                    <a:pt x="81657" y="46203"/>
                  </a:cubicBezTo>
                  <a:lnTo>
                    <a:pt x="81657" y="88152"/>
                  </a:lnTo>
                  <a:lnTo>
                    <a:pt x="81657" y="88152"/>
                  </a:lnTo>
                  <a:lnTo>
                    <a:pt x="81657" y="181510"/>
                  </a:lnTo>
                  <a:cubicBezTo>
                    <a:pt x="81657" y="187100"/>
                    <a:pt x="77107" y="191631"/>
                    <a:pt x="71496" y="191631"/>
                  </a:cubicBezTo>
                  <a:cubicBezTo>
                    <a:pt x="65885" y="191631"/>
                    <a:pt x="61335" y="187100"/>
                    <a:pt x="61335" y="181510"/>
                  </a:cubicBezTo>
                  <a:lnTo>
                    <a:pt x="61335" y="111033"/>
                  </a:lnTo>
                  <a:cubicBezTo>
                    <a:pt x="61335" y="108602"/>
                    <a:pt x="59354" y="106633"/>
                    <a:pt x="56917" y="106632"/>
                  </a:cubicBezTo>
                  <a:cubicBezTo>
                    <a:pt x="56895" y="106632"/>
                    <a:pt x="56866" y="106632"/>
                    <a:pt x="56843" y="106633"/>
                  </a:cubicBezTo>
                  <a:cubicBezTo>
                    <a:pt x="54392" y="106633"/>
                    <a:pt x="52389" y="108591"/>
                    <a:pt x="52352" y="111033"/>
                  </a:cubicBezTo>
                  <a:lnTo>
                    <a:pt x="52352" y="181510"/>
                  </a:lnTo>
                  <a:cubicBezTo>
                    <a:pt x="52831" y="187079"/>
                    <a:pt x="48685" y="191979"/>
                    <a:pt x="43089" y="192455"/>
                  </a:cubicBezTo>
                  <a:cubicBezTo>
                    <a:pt x="37501" y="192930"/>
                    <a:pt x="32582" y="188801"/>
                    <a:pt x="32103" y="183231"/>
                  </a:cubicBezTo>
                  <a:cubicBezTo>
                    <a:pt x="32052" y="182659"/>
                    <a:pt x="32052" y="182083"/>
                    <a:pt x="32103" y="181510"/>
                  </a:cubicBezTo>
                  <a:lnTo>
                    <a:pt x="32103" y="46203"/>
                  </a:lnTo>
                  <a:cubicBezTo>
                    <a:pt x="32067" y="43760"/>
                    <a:pt x="30064" y="41802"/>
                    <a:pt x="27612" y="41802"/>
                  </a:cubicBezTo>
                  <a:cubicBezTo>
                    <a:pt x="25175" y="41762"/>
                    <a:pt x="23165" y="43699"/>
                    <a:pt x="23120" y="46129"/>
                  </a:cubicBezTo>
                  <a:cubicBezTo>
                    <a:pt x="23120" y="46153"/>
                    <a:pt x="23120" y="46178"/>
                    <a:pt x="23120" y="46203"/>
                  </a:cubicBezTo>
                  <a:lnTo>
                    <a:pt x="23120" y="88152"/>
                  </a:lnTo>
                  <a:cubicBezTo>
                    <a:pt x="23150" y="91857"/>
                    <a:pt x="20403" y="95004"/>
                    <a:pt x="16714" y="95485"/>
                  </a:cubicBezTo>
                  <a:cubicBezTo>
                    <a:pt x="14690" y="95723"/>
                    <a:pt x="12665" y="95050"/>
                    <a:pt x="11192" y="93652"/>
                  </a:cubicBezTo>
                  <a:cubicBezTo>
                    <a:pt x="9712" y="92287"/>
                    <a:pt x="8865" y="90379"/>
                    <a:pt x="8836" y="88372"/>
                  </a:cubicBezTo>
                  <a:lnTo>
                    <a:pt x="8836" y="27575"/>
                  </a:lnTo>
                  <a:cubicBezTo>
                    <a:pt x="8836" y="17247"/>
                    <a:pt x="17245" y="8874"/>
                    <a:pt x="27612" y="8874"/>
                  </a:cubicBezTo>
                  <a:lnTo>
                    <a:pt x="86075" y="8874"/>
                  </a:lnTo>
                  <a:cubicBezTo>
                    <a:pt x="96442" y="8874"/>
                    <a:pt x="104851" y="17247"/>
                    <a:pt x="104851" y="27575"/>
                  </a:cubicBezTo>
                  <a:close/>
                </a:path>
              </a:pathLst>
            </a:custGeom>
            <a:grpFill/>
            <a:ln w="7361" cap="flat">
              <a:solidFill>
                <a:schemeClr val="bg1"/>
              </a:solidFill>
              <a:prstDash val="solid"/>
              <a:miter/>
            </a:ln>
          </p:spPr>
          <p:txBody>
            <a:bodyPr rtlCol="0" anchor="ctr"/>
            <a:lstStyle/>
            <a:p>
              <a:endParaRPr lang="en-US"/>
            </a:p>
          </p:txBody>
        </p:sp>
        <p:sp>
          <p:nvSpPr>
            <p:cNvPr id="55" name="Freeform 351">
              <a:extLst>
                <a:ext uri="{FF2B5EF4-FFF2-40B4-BE49-F238E27FC236}">
                  <a16:creationId xmlns:a16="http://schemas.microsoft.com/office/drawing/2014/main" id="{695BAF62-BE55-154C-8866-C027A1239774}"/>
                </a:ext>
              </a:extLst>
            </p:cNvPr>
            <p:cNvSpPr/>
            <p:nvPr/>
          </p:nvSpPr>
          <p:spPr>
            <a:xfrm>
              <a:off x="1642709" y="2659232"/>
              <a:ext cx="48302" cy="48109"/>
            </a:xfrm>
            <a:custGeom>
              <a:avLst/>
              <a:gdLst>
                <a:gd name="connsiteX0" fmla="*/ 24151 w 48302"/>
                <a:gd name="connsiteY0" fmla="*/ 48109 h 48109"/>
                <a:gd name="connsiteX1" fmla="*/ 48302 w 48302"/>
                <a:gd name="connsiteY1" fmla="*/ 24055 h 48109"/>
                <a:gd name="connsiteX2" fmla="*/ 24151 w 48302"/>
                <a:gd name="connsiteY2" fmla="*/ 0 h 48109"/>
                <a:gd name="connsiteX3" fmla="*/ 0 w 48302"/>
                <a:gd name="connsiteY3" fmla="*/ 24055 h 48109"/>
                <a:gd name="connsiteX4" fmla="*/ 0 w 48302"/>
                <a:gd name="connsiteY4" fmla="*/ 24128 h 48109"/>
                <a:gd name="connsiteX5" fmla="*/ 24077 w 48302"/>
                <a:gd name="connsiteY5" fmla="*/ 48109 h 48109"/>
                <a:gd name="connsiteX6" fmla="*/ 24151 w 48302"/>
                <a:gd name="connsiteY6" fmla="*/ 48109 h 48109"/>
                <a:gd name="connsiteX7" fmla="*/ 24151 w 48302"/>
                <a:gd name="connsiteY7" fmla="*/ 9021 h 48109"/>
                <a:gd name="connsiteX8" fmla="*/ 39319 w 48302"/>
                <a:gd name="connsiteY8" fmla="*/ 24128 h 48109"/>
                <a:gd name="connsiteX9" fmla="*/ 24151 w 48302"/>
                <a:gd name="connsiteY9" fmla="*/ 39236 h 48109"/>
                <a:gd name="connsiteX10" fmla="*/ 8983 w 48302"/>
                <a:gd name="connsiteY10" fmla="*/ 24128 h 48109"/>
                <a:gd name="connsiteX11" fmla="*/ 24151 w 48302"/>
                <a:gd name="connsiteY11" fmla="*/ 9021 h 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2" h="48109">
                  <a:moveTo>
                    <a:pt x="24151" y="48109"/>
                  </a:moveTo>
                  <a:cubicBezTo>
                    <a:pt x="37486" y="48109"/>
                    <a:pt x="48302" y="37340"/>
                    <a:pt x="48302" y="24055"/>
                  </a:cubicBezTo>
                  <a:cubicBezTo>
                    <a:pt x="48302" y="10770"/>
                    <a:pt x="37486" y="0"/>
                    <a:pt x="24151" y="0"/>
                  </a:cubicBezTo>
                  <a:cubicBezTo>
                    <a:pt x="10809" y="0"/>
                    <a:pt x="0" y="10770"/>
                    <a:pt x="0" y="24055"/>
                  </a:cubicBezTo>
                  <a:cubicBezTo>
                    <a:pt x="0" y="24079"/>
                    <a:pt x="0" y="24104"/>
                    <a:pt x="0" y="24128"/>
                  </a:cubicBezTo>
                  <a:cubicBezTo>
                    <a:pt x="0" y="37373"/>
                    <a:pt x="10780" y="48109"/>
                    <a:pt x="24077" y="48109"/>
                  </a:cubicBezTo>
                  <a:cubicBezTo>
                    <a:pt x="24100" y="48109"/>
                    <a:pt x="24129" y="48109"/>
                    <a:pt x="24151" y="48109"/>
                  </a:cubicBezTo>
                  <a:close/>
                  <a:moveTo>
                    <a:pt x="24151" y="9021"/>
                  </a:moveTo>
                  <a:cubicBezTo>
                    <a:pt x="32530" y="9021"/>
                    <a:pt x="39319" y="15784"/>
                    <a:pt x="39319" y="24128"/>
                  </a:cubicBezTo>
                  <a:cubicBezTo>
                    <a:pt x="39319" y="32472"/>
                    <a:pt x="32530" y="39236"/>
                    <a:pt x="24151" y="39236"/>
                  </a:cubicBezTo>
                  <a:cubicBezTo>
                    <a:pt x="15772" y="39236"/>
                    <a:pt x="8983" y="32472"/>
                    <a:pt x="8983" y="24128"/>
                  </a:cubicBezTo>
                  <a:cubicBezTo>
                    <a:pt x="8983" y="15784"/>
                    <a:pt x="15772" y="9021"/>
                    <a:pt x="24151" y="9021"/>
                  </a:cubicBezTo>
                  <a:close/>
                </a:path>
              </a:pathLst>
            </a:custGeom>
            <a:grpFill/>
            <a:ln w="7361" cap="flat">
              <a:solidFill>
                <a:schemeClr val="bg1"/>
              </a:solidFill>
              <a:prstDash val="solid"/>
              <a:miter/>
            </a:ln>
          </p:spPr>
          <p:txBody>
            <a:bodyPr rtlCol="0" anchor="ctr"/>
            <a:lstStyle/>
            <a:p>
              <a:endParaRPr lang="en-US"/>
            </a:p>
          </p:txBody>
        </p:sp>
      </p:grpSp>
      <p:grpSp>
        <p:nvGrpSpPr>
          <p:cNvPr id="56" name="Group 348">
            <a:extLst>
              <a:ext uri="{FF2B5EF4-FFF2-40B4-BE49-F238E27FC236}">
                <a16:creationId xmlns:a16="http://schemas.microsoft.com/office/drawing/2014/main" id="{E7311D6C-0BB8-514E-B268-D1F6A3690034}"/>
              </a:ext>
            </a:extLst>
          </p:cNvPr>
          <p:cNvGrpSpPr>
            <a:grpSpLocks noChangeAspect="1"/>
          </p:cNvGrpSpPr>
          <p:nvPr/>
        </p:nvGrpSpPr>
        <p:grpSpPr>
          <a:xfrm>
            <a:off x="517944" y="2958296"/>
            <a:ext cx="551266" cy="648000"/>
            <a:chOff x="1609943" y="2649994"/>
            <a:chExt cx="225238" cy="264762"/>
          </a:xfrm>
          <a:solidFill>
            <a:schemeClr val="bg1"/>
          </a:solidFill>
        </p:grpSpPr>
        <p:sp>
          <p:nvSpPr>
            <p:cNvPr id="57" name="Freeform 349">
              <a:extLst>
                <a:ext uri="{FF2B5EF4-FFF2-40B4-BE49-F238E27FC236}">
                  <a16:creationId xmlns:a16="http://schemas.microsoft.com/office/drawing/2014/main" id="{557FA530-2663-DD40-A645-B3DC1C1FF7A4}"/>
                </a:ext>
              </a:extLst>
            </p:cNvPr>
            <p:cNvSpPr/>
            <p:nvPr/>
          </p:nvSpPr>
          <p:spPr>
            <a:xfrm>
              <a:off x="1720169" y="2649994"/>
              <a:ext cx="115012" cy="95262"/>
            </a:xfrm>
            <a:custGeom>
              <a:avLst/>
              <a:gdLst>
                <a:gd name="connsiteX0" fmla="*/ 113171 w 115012"/>
                <a:gd name="connsiteY0" fmla="*/ 804 h 95262"/>
                <a:gd name="connsiteX1" fmla="*/ 109048 w 115012"/>
                <a:gd name="connsiteY1" fmla="*/ 218 h 95262"/>
                <a:gd name="connsiteX2" fmla="*/ 56254 w 115012"/>
                <a:gd name="connsiteY2" fmla="*/ 18552 h 95262"/>
                <a:gd name="connsiteX3" fmla="*/ 20543 w 115012"/>
                <a:gd name="connsiteY3" fmla="*/ 18552 h 95262"/>
                <a:gd name="connsiteX4" fmla="*/ 0 w 115012"/>
                <a:gd name="connsiteY4" fmla="*/ 39013 h 95262"/>
                <a:gd name="connsiteX5" fmla="*/ 0 w 115012"/>
                <a:gd name="connsiteY5" fmla="*/ 41947 h 95262"/>
                <a:gd name="connsiteX6" fmla="*/ 20543 w 115012"/>
                <a:gd name="connsiteY6" fmla="*/ 62408 h 95262"/>
                <a:gd name="connsiteX7" fmla="*/ 26875 w 115012"/>
                <a:gd name="connsiteY7" fmla="*/ 62408 h 95262"/>
                <a:gd name="connsiteX8" fmla="*/ 26875 w 115012"/>
                <a:gd name="connsiteY8" fmla="*/ 84409 h 95262"/>
                <a:gd name="connsiteX9" fmla="*/ 37773 w 115012"/>
                <a:gd name="connsiteY9" fmla="*/ 95263 h 95262"/>
                <a:gd name="connsiteX10" fmla="*/ 41823 w 115012"/>
                <a:gd name="connsiteY10" fmla="*/ 95263 h 95262"/>
                <a:gd name="connsiteX11" fmla="*/ 52720 w 115012"/>
                <a:gd name="connsiteY11" fmla="*/ 84409 h 95262"/>
                <a:gd name="connsiteX12" fmla="*/ 52720 w 115012"/>
                <a:gd name="connsiteY12" fmla="*/ 62408 h 95262"/>
                <a:gd name="connsiteX13" fmla="*/ 56328 w 115012"/>
                <a:gd name="connsiteY13" fmla="*/ 62408 h 95262"/>
                <a:gd name="connsiteX14" fmla="*/ 109121 w 115012"/>
                <a:gd name="connsiteY14" fmla="*/ 80522 h 95262"/>
                <a:gd name="connsiteX15" fmla="*/ 110520 w 115012"/>
                <a:gd name="connsiteY15" fmla="*/ 80522 h 95262"/>
                <a:gd name="connsiteX16" fmla="*/ 113171 w 115012"/>
                <a:gd name="connsiteY16" fmla="*/ 79715 h 95262"/>
                <a:gd name="connsiteX17" fmla="*/ 115012 w 115012"/>
                <a:gd name="connsiteY17" fmla="*/ 76049 h 95262"/>
                <a:gd name="connsiteX18" fmla="*/ 115012 w 115012"/>
                <a:gd name="connsiteY18" fmla="*/ 4471 h 95262"/>
                <a:gd name="connsiteX19" fmla="*/ 113171 w 115012"/>
                <a:gd name="connsiteY19" fmla="*/ 804 h 95262"/>
                <a:gd name="connsiteX20" fmla="*/ 8909 w 115012"/>
                <a:gd name="connsiteY20" fmla="*/ 41947 h 95262"/>
                <a:gd name="connsiteX21" fmla="*/ 8909 w 115012"/>
                <a:gd name="connsiteY21" fmla="*/ 39013 h 95262"/>
                <a:gd name="connsiteX22" fmla="*/ 20543 w 115012"/>
                <a:gd name="connsiteY22" fmla="*/ 27426 h 95262"/>
                <a:gd name="connsiteX23" fmla="*/ 52573 w 115012"/>
                <a:gd name="connsiteY23" fmla="*/ 27426 h 95262"/>
                <a:gd name="connsiteX24" fmla="*/ 52573 w 115012"/>
                <a:gd name="connsiteY24" fmla="*/ 53681 h 95262"/>
                <a:gd name="connsiteX25" fmla="*/ 20543 w 115012"/>
                <a:gd name="connsiteY25" fmla="*/ 53681 h 95262"/>
                <a:gd name="connsiteX26" fmla="*/ 8909 w 115012"/>
                <a:gd name="connsiteY26" fmla="*/ 42094 h 95262"/>
                <a:gd name="connsiteX27" fmla="*/ 8909 w 115012"/>
                <a:gd name="connsiteY27" fmla="*/ 41947 h 95262"/>
                <a:gd name="connsiteX28" fmla="*/ 43737 w 115012"/>
                <a:gd name="connsiteY28" fmla="*/ 84702 h 95262"/>
                <a:gd name="connsiteX29" fmla="*/ 41823 w 115012"/>
                <a:gd name="connsiteY29" fmla="*/ 86609 h 95262"/>
                <a:gd name="connsiteX30" fmla="*/ 37773 w 115012"/>
                <a:gd name="connsiteY30" fmla="*/ 86609 h 95262"/>
                <a:gd name="connsiteX31" fmla="*/ 35785 w 115012"/>
                <a:gd name="connsiteY31" fmla="*/ 84777 h 95262"/>
                <a:gd name="connsiteX32" fmla="*/ 35785 w 115012"/>
                <a:gd name="connsiteY32" fmla="*/ 84702 h 95262"/>
                <a:gd name="connsiteX33" fmla="*/ 35785 w 115012"/>
                <a:gd name="connsiteY33" fmla="*/ 62701 h 95262"/>
                <a:gd name="connsiteX34" fmla="*/ 43737 w 115012"/>
                <a:gd name="connsiteY34" fmla="*/ 62701 h 95262"/>
                <a:gd name="connsiteX35" fmla="*/ 106103 w 115012"/>
                <a:gd name="connsiteY35" fmla="*/ 70035 h 95262"/>
                <a:gd name="connsiteX36" fmla="*/ 61556 w 115012"/>
                <a:gd name="connsiteY36" fmla="*/ 54781 h 95262"/>
                <a:gd name="connsiteX37" fmla="*/ 61556 w 115012"/>
                <a:gd name="connsiteY37" fmla="*/ 26179 h 95262"/>
                <a:gd name="connsiteX38" fmla="*/ 106103 w 115012"/>
                <a:gd name="connsiteY38" fmla="*/ 10705 h 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5012" h="95262">
                  <a:moveTo>
                    <a:pt x="113171" y="804"/>
                  </a:moveTo>
                  <a:cubicBezTo>
                    <a:pt x="111956" y="2"/>
                    <a:pt x="110439" y="-213"/>
                    <a:pt x="109048" y="218"/>
                  </a:cubicBezTo>
                  <a:lnTo>
                    <a:pt x="56254" y="18552"/>
                  </a:lnTo>
                  <a:lnTo>
                    <a:pt x="20543" y="18552"/>
                  </a:lnTo>
                  <a:cubicBezTo>
                    <a:pt x="9211" y="18592"/>
                    <a:pt x="37" y="27729"/>
                    <a:pt x="0" y="39013"/>
                  </a:cubicBezTo>
                  <a:lnTo>
                    <a:pt x="0" y="41947"/>
                  </a:lnTo>
                  <a:cubicBezTo>
                    <a:pt x="0" y="53247"/>
                    <a:pt x="9197" y="62408"/>
                    <a:pt x="20543" y="62408"/>
                  </a:cubicBezTo>
                  <a:lnTo>
                    <a:pt x="26875" y="62408"/>
                  </a:lnTo>
                  <a:lnTo>
                    <a:pt x="26875" y="84409"/>
                  </a:lnTo>
                  <a:cubicBezTo>
                    <a:pt x="26875" y="90404"/>
                    <a:pt x="31757" y="95263"/>
                    <a:pt x="37773" y="95263"/>
                  </a:cubicBezTo>
                  <a:lnTo>
                    <a:pt x="41823" y="95263"/>
                  </a:lnTo>
                  <a:cubicBezTo>
                    <a:pt x="47823" y="95223"/>
                    <a:pt x="52683" y="90387"/>
                    <a:pt x="52720" y="84409"/>
                  </a:cubicBezTo>
                  <a:lnTo>
                    <a:pt x="52720" y="62408"/>
                  </a:lnTo>
                  <a:lnTo>
                    <a:pt x="56328" y="62408"/>
                  </a:lnTo>
                  <a:lnTo>
                    <a:pt x="109121" y="80522"/>
                  </a:lnTo>
                  <a:cubicBezTo>
                    <a:pt x="109585" y="80593"/>
                    <a:pt x="110057" y="80593"/>
                    <a:pt x="110520" y="80522"/>
                  </a:cubicBezTo>
                  <a:cubicBezTo>
                    <a:pt x="111463" y="80516"/>
                    <a:pt x="112383" y="80235"/>
                    <a:pt x="113171" y="79715"/>
                  </a:cubicBezTo>
                  <a:cubicBezTo>
                    <a:pt x="114335" y="78854"/>
                    <a:pt x="115019" y="77493"/>
                    <a:pt x="115012" y="76049"/>
                  </a:cubicBezTo>
                  <a:lnTo>
                    <a:pt x="115012" y="4471"/>
                  </a:lnTo>
                  <a:cubicBezTo>
                    <a:pt x="115041" y="3021"/>
                    <a:pt x="114357" y="1650"/>
                    <a:pt x="113171" y="804"/>
                  </a:cubicBezTo>
                  <a:close/>
                  <a:moveTo>
                    <a:pt x="8909" y="41947"/>
                  </a:moveTo>
                  <a:lnTo>
                    <a:pt x="8909" y="39013"/>
                  </a:lnTo>
                  <a:cubicBezTo>
                    <a:pt x="8909" y="32614"/>
                    <a:pt x="14115" y="27426"/>
                    <a:pt x="20543" y="27426"/>
                  </a:cubicBezTo>
                  <a:lnTo>
                    <a:pt x="52573" y="27426"/>
                  </a:lnTo>
                  <a:lnTo>
                    <a:pt x="52573" y="53681"/>
                  </a:lnTo>
                  <a:lnTo>
                    <a:pt x="20543" y="53681"/>
                  </a:lnTo>
                  <a:cubicBezTo>
                    <a:pt x="14115" y="53681"/>
                    <a:pt x="8909" y="48494"/>
                    <a:pt x="8909" y="42094"/>
                  </a:cubicBezTo>
                  <a:cubicBezTo>
                    <a:pt x="8909" y="42045"/>
                    <a:pt x="8909" y="41996"/>
                    <a:pt x="8909" y="41947"/>
                  </a:cubicBezTo>
                  <a:close/>
                  <a:moveTo>
                    <a:pt x="43737" y="84702"/>
                  </a:moveTo>
                  <a:cubicBezTo>
                    <a:pt x="43737" y="85755"/>
                    <a:pt x="42883" y="86609"/>
                    <a:pt x="41823" y="86609"/>
                  </a:cubicBezTo>
                  <a:lnTo>
                    <a:pt x="37773" y="86609"/>
                  </a:lnTo>
                  <a:cubicBezTo>
                    <a:pt x="36720" y="86649"/>
                    <a:pt x="35829" y="85830"/>
                    <a:pt x="35785" y="84777"/>
                  </a:cubicBezTo>
                  <a:cubicBezTo>
                    <a:pt x="35785" y="84752"/>
                    <a:pt x="35785" y="84727"/>
                    <a:pt x="35785" y="84702"/>
                  </a:cubicBezTo>
                  <a:lnTo>
                    <a:pt x="35785" y="62701"/>
                  </a:lnTo>
                  <a:lnTo>
                    <a:pt x="43737" y="62701"/>
                  </a:lnTo>
                  <a:close/>
                  <a:moveTo>
                    <a:pt x="106103" y="70035"/>
                  </a:moveTo>
                  <a:lnTo>
                    <a:pt x="61556" y="54781"/>
                  </a:lnTo>
                  <a:lnTo>
                    <a:pt x="61556" y="26179"/>
                  </a:lnTo>
                  <a:lnTo>
                    <a:pt x="106103" y="10705"/>
                  </a:lnTo>
                  <a:close/>
                </a:path>
              </a:pathLst>
            </a:custGeom>
            <a:grpFill/>
            <a:ln w="7361" cap="flat">
              <a:solidFill>
                <a:schemeClr val="bg1"/>
              </a:solidFill>
              <a:prstDash val="solid"/>
              <a:miter/>
            </a:ln>
          </p:spPr>
          <p:txBody>
            <a:bodyPr rtlCol="0" anchor="ctr"/>
            <a:lstStyle/>
            <a:p>
              <a:endParaRPr lang="en-US"/>
            </a:p>
          </p:txBody>
        </p:sp>
        <p:sp>
          <p:nvSpPr>
            <p:cNvPr id="58" name="Freeform 350">
              <a:extLst>
                <a:ext uri="{FF2B5EF4-FFF2-40B4-BE49-F238E27FC236}">
                  <a16:creationId xmlns:a16="http://schemas.microsoft.com/office/drawing/2014/main" id="{40F32609-6E02-3D46-A1F1-DA5EDB75FD7C}"/>
                </a:ext>
              </a:extLst>
            </p:cNvPr>
            <p:cNvSpPr/>
            <p:nvPr/>
          </p:nvSpPr>
          <p:spPr>
            <a:xfrm>
              <a:off x="1609943" y="2714235"/>
              <a:ext cx="113760" cy="200521"/>
            </a:xfrm>
            <a:custGeom>
              <a:avLst/>
              <a:gdLst>
                <a:gd name="connsiteX0" fmla="*/ 86149 w 113760"/>
                <a:gd name="connsiteY0" fmla="*/ 0 h 200521"/>
                <a:gd name="connsiteX1" fmla="*/ 27685 w 113760"/>
                <a:gd name="connsiteY1" fmla="*/ 0 h 200521"/>
                <a:gd name="connsiteX2" fmla="*/ 0 w 113760"/>
                <a:gd name="connsiteY2" fmla="*/ 27575 h 200521"/>
                <a:gd name="connsiteX3" fmla="*/ 0 w 113760"/>
                <a:gd name="connsiteY3" fmla="*/ 88665 h 200521"/>
                <a:gd name="connsiteX4" fmla="*/ 15978 w 113760"/>
                <a:gd name="connsiteY4" fmla="*/ 104727 h 200521"/>
                <a:gd name="connsiteX5" fmla="*/ 17598 w 113760"/>
                <a:gd name="connsiteY5" fmla="*/ 104652 h 200521"/>
                <a:gd name="connsiteX6" fmla="*/ 23194 w 113760"/>
                <a:gd name="connsiteY6" fmla="*/ 102966 h 200521"/>
                <a:gd name="connsiteX7" fmla="*/ 23194 w 113760"/>
                <a:gd name="connsiteY7" fmla="*/ 181510 h 200521"/>
                <a:gd name="connsiteX8" fmla="*/ 42250 w 113760"/>
                <a:gd name="connsiteY8" fmla="*/ 200521 h 200521"/>
                <a:gd name="connsiteX9" fmla="*/ 56917 w 113760"/>
                <a:gd name="connsiteY9" fmla="*/ 193684 h 200521"/>
                <a:gd name="connsiteX10" fmla="*/ 83778 w 113760"/>
                <a:gd name="connsiteY10" fmla="*/ 196121 h 200521"/>
                <a:gd name="connsiteX11" fmla="*/ 90640 w 113760"/>
                <a:gd name="connsiteY11" fmla="*/ 181510 h 200521"/>
                <a:gd name="connsiteX12" fmla="*/ 90640 w 113760"/>
                <a:gd name="connsiteY12" fmla="*/ 102966 h 200521"/>
                <a:gd name="connsiteX13" fmla="*/ 96236 w 113760"/>
                <a:gd name="connsiteY13" fmla="*/ 104652 h 200521"/>
                <a:gd name="connsiteX14" fmla="*/ 113694 w 113760"/>
                <a:gd name="connsiteY14" fmla="*/ 90199 h 200521"/>
                <a:gd name="connsiteX15" fmla="*/ 113760 w 113760"/>
                <a:gd name="connsiteY15" fmla="*/ 88665 h 200521"/>
                <a:gd name="connsiteX16" fmla="*/ 113760 w 113760"/>
                <a:gd name="connsiteY16" fmla="*/ 27575 h 200521"/>
                <a:gd name="connsiteX17" fmla="*/ 86149 w 113760"/>
                <a:gd name="connsiteY17" fmla="*/ 0 h 200521"/>
                <a:gd name="connsiteX18" fmla="*/ 104925 w 113760"/>
                <a:gd name="connsiteY18" fmla="*/ 88665 h 200521"/>
                <a:gd name="connsiteX19" fmla="*/ 102568 w 113760"/>
                <a:gd name="connsiteY19" fmla="*/ 93945 h 200521"/>
                <a:gd name="connsiteX20" fmla="*/ 97046 w 113760"/>
                <a:gd name="connsiteY20" fmla="*/ 95779 h 200521"/>
                <a:gd name="connsiteX21" fmla="*/ 90640 w 113760"/>
                <a:gd name="connsiteY21" fmla="*/ 88445 h 200521"/>
                <a:gd name="connsiteX22" fmla="*/ 90640 w 113760"/>
                <a:gd name="connsiteY22" fmla="*/ 88445 h 200521"/>
                <a:gd name="connsiteX23" fmla="*/ 90640 w 113760"/>
                <a:gd name="connsiteY23" fmla="*/ 46203 h 200521"/>
                <a:gd name="connsiteX24" fmla="*/ 86222 w 113760"/>
                <a:gd name="connsiteY24" fmla="*/ 41802 h 200521"/>
                <a:gd name="connsiteX25" fmla="*/ 86149 w 113760"/>
                <a:gd name="connsiteY25" fmla="*/ 41802 h 200521"/>
                <a:gd name="connsiteX26" fmla="*/ 81657 w 113760"/>
                <a:gd name="connsiteY26" fmla="*/ 46203 h 200521"/>
                <a:gd name="connsiteX27" fmla="*/ 81657 w 113760"/>
                <a:gd name="connsiteY27" fmla="*/ 88152 h 200521"/>
                <a:gd name="connsiteX28" fmla="*/ 81657 w 113760"/>
                <a:gd name="connsiteY28" fmla="*/ 88152 h 200521"/>
                <a:gd name="connsiteX29" fmla="*/ 81657 w 113760"/>
                <a:gd name="connsiteY29" fmla="*/ 181510 h 200521"/>
                <a:gd name="connsiteX30" fmla="*/ 71496 w 113760"/>
                <a:gd name="connsiteY30" fmla="*/ 191631 h 200521"/>
                <a:gd name="connsiteX31" fmla="*/ 61335 w 113760"/>
                <a:gd name="connsiteY31" fmla="*/ 181510 h 200521"/>
                <a:gd name="connsiteX32" fmla="*/ 61335 w 113760"/>
                <a:gd name="connsiteY32" fmla="*/ 111033 h 200521"/>
                <a:gd name="connsiteX33" fmla="*/ 56917 w 113760"/>
                <a:gd name="connsiteY33" fmla="*/ 106632 h 200521"/>
                <a:gd name="connsiteX34" fmla="*/ 56843 w 113760"/>
                <a:gd name="connsiteY34" fmla="*/ 106633 h 200521"/>
                <a:gd name="connsiteX35" fmla="*/ 52352 w 113760"/>
                <a:gd name="connsiteY35" fmla="*/ 111033 h 200521"/>
                <a:gd name="connsiteX36" fmla="*/ 52352 w 113760"/>
                <a:gd name="connsiteY36" fmla="*/ 181510 h 200521"/>
                <a:gd name="connsiteX37" fmla="*/ 43089 w 113760"/>
                <a:gd name="connsiteY37" fmla="*/ 192455 h 200521"/>
                <a:gd name="connsiteX38" fmla="*/ 32103 w 113760"/>
                <a:gd name="connsiteY38" fmla="*/ 183231 h 200521"/>
                <a:gd name="connsiteX39" fmla="*/ 32103 w 113760"/>
                <a:gd name="connsiteY39" fmla="*/ 181510 h 200521"/>
                <a:gd name="connsiteX40" fmla="*/ 32103 w 113760"/>
                <a:gd name="connsiteY40" fmla="*/ 46203 h 200521"/>
                <a:gd name="connsiteX41" fmla="*/ 27612 w 113760"/>
                <a:gd name="connsiteY41" fmla="*/ 41802 h 200521"/>
                <a:gd name="connsiteX42" fmla="*/ 23120 w 113760"/>
                <a:gd name="connsiteY42" fmla="*/ 46129 h 200521"/>
                <a:gd name="connsiteX43" fmla="*/ 23120 w 113760"/>
                <a:gd name="connsiteY43" fmla="*/ 46203 h 200521"/>
                <a:gd name="connsiteX44" fmla="*/ 23120 w 113760"/>
                <a:gd name="connsiteY44" fmla="*/ 88152 h 200521"/>
                <a:gd name="connsiteX45" fmla="*/ 16714 w 113760"/>
                <a:gd name="connsiteY45" fmla="*/ 95485 h 200521"/>
                <a:gd name="connsiteX46" fmla="*/ 11192 w 113760"/>
                <a:gd name="connsiteY46" fmla="*/ 93652 h 200521"/>
                <a:gd name="connsiteX47" fmla="*/ 8836 w 113760"/>
                <a:gd name="connsiteY47" fmla="*/ 88372 h 200521"/>
                <a:gd name="connsiteX48" fmla="*/ 8836 w 113760"/>
                <a:gd name="connsiteY48" fmla="*/ 27575 h 200521"/>
                <a:gd name="connsiteX49" fmla="*/ 27612 w 113760"/>
                <a:gd name="connsiteY49" fmla="*/ 8874 h 200521"/>
                <a:gd name="connsiteX50" fmla="*/ 86075 w 113760"/>
                <a:gd name="connsiteY50" fmla="*/ 8874 h 200521"/>
                <a:gd name="connsiteX51" fmla="*/ 104851 w 113760"/>
                <a:gd name="connsiteY51" fmla="*/ 27575 h 20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3760" h="200521">
                  <a:moveTo>
                    <a:pt x="86149" y="0"/>
                  </a:moveTo>
                  <a:lnTo>
                    <a:pt x="27685" y="0"/>
                  </a:lnTo>
                  <a:cubicBezTo>
                    <a:pt x="12392" y="0"/>
                    <a:pt x="0" y="12346"/>
                    <a:pt x="0" y="27575"/>
                  </a:cubicBezTo>
                  <a:lnTo>
                    <a:pt x="0" y="88665"/>
                  </a:lnTo>
                  <a:cubicBezTo>
                    <a:pt x="-44" y="97495"/>
                    <a:pt x="7113" y="104686"/>
                    <a:pt x="15978" y="104727"/>
                  </a:cubicBezTo>
                  <a:cubicBezTo>
                    <a:pt x="16516" y="104730"/>
                    <a:pt x="17061" y="104705"/>
                    <a:pt x="17598" y="104652"/>
                  </a:cubicBezTo>
                  <a:cubicBezTo>
                    <a:pt x="19549" y="104438"/>
                    <a:pt x="21449" y="103866"/>
                    <a:pt x="23194" y="102966"/>
                  </a:cubicBezTo>
                  <a:lnTo>
                    <a:pt x="23194" y="181510"/>
                  </a:lnTo>
                  <a:cubicBezTo>
                    <a:pt x="23187" y="192000"/>
                    <a:pt x="31713" y="200512"/>
                    <a:pt x="42250" y="200521"/>
                  </a:cubicBezTo>
                  <a:cubicBezTo>
                    <a:pt x="47912" y="200527"/>
                    <a:pt x="53287" y="198021"/>
                    <a:pt x="56917" y="193684"/>
                  </a:cubicBezTo>
                  <a:cubicBezTo>
                    <a:pt x="63662" y="201745"/>
                    <a:pt x="75686" y="202835"/>
                    <a:pt x="83778" y="196121"/>
                  </a:cubicBezTo>
                  <a:cubicBezTo>
                    <a:pt x="88129" y="192509"/>
                    <a:pt x="90648" y="187154"/>
                    <a:pt x="90640" y="181510"/>
                  </a:cubicBezTo>
                  <a:lnTo>
                    <a:pt x="90640" y="102966"/>
                  </a:lnTo>
                  <a:cubicBezTo>
                    <a:pt x="92385" y="103866"/>
                    <a:pt x="94285" y="104438"/>
                    <a:pt x="96236" y="104652"/>
                  </a:cubicBezTo>
                  <a:cubicBezTo>
                    <a:pt x="105065" y="105463"/>
                    <a:pt x="112877" y="98992"/>
                    <a:pt x="113694" y="90199"/>
                  </a:cubicBezTo>
                  <a:cubicBezTo>
                    <a:pt x="113738" y="89689"/>
                    <a:pt x="113760" y="89177"/>
                    <a:pt x="113760" y="88665"/>
                  </a:cubicBezTo>
                  <a:lnTo>
                    <a:pt x="113760" y="27575"/>
                  </a:lnTo>
                  <a:cubicBezTo>
                    <a:pt x="113760" y="12374"/>
                    <a:pt x="101412" y="40"/>
                    <a:pt x="86149" y="0"/>
                  </a:cubicBezTo>
                  <a:close/>
                  <a:moveTo>
                    <a:pt x="104925" y="88665"/>
                  </a:moveTo>
                  <a:cubicBezTo>
                    <a:pt x="104895" y="90672"/>
                    <a:pt x="104048" y="92580"/>
                    <a:pt x="102568" y="93945"/>
                  </a:cubicBezTo>
                  <a:cubicBezTo>
                    <a:pt x="101059" y="95286"/>
                    <a:pt x="99064" y="95949"/>
                    <a:pt x="97046" y="95779"/>
                  </a:cubicBezTo>
                  <a:cubicBezTo>
                    <a:pt x="93357" y="95297"/>
                    <a:pt x="90611" y="92151"/>
                    <a:pt x="90640" y="88445"/>
                  </a:cubicBezTo>
                  <a:lnTo>
                    <a:pt x="90640" y="88445"/>
                  </a:lnTo>
                  <a:lnTo>
                    <a:pt x="90640" y="46203"/>
                  </a:lnTo>
                  <a:cubicBezTo>
                    <a:pt x="90640" y="43772"/>
                    <a:pt x="88660" y="41802"/>
                    <a:pt x="86222" y="41802"/>
                  </a:cubicBezTo>
                  <a:cubicBezTo>
                    <a:pt x="86200" y="41802"/>
                    <a:pt x="86171" y="41802"/>
                    <a:pt x="86149" y="41802"/>
                  </a:cubicBezTo>
                  <a:cubicBezTo>
                    <a:pt x="83697" y="41802"/>
                    <a:pt x="81694" y="43760"/>
                    <a:pt x="81657" y="46203"/>
                  </a:cubicBezTo>
                  <a:lnTo>
                    <a:pt x="81657" y="88152"/>
                  </a:lnTo>
                  <a:lnTo>
                    <a:pt x="81657" y="88152"/>
                  </a:lnTo>
                  <a:lnTo>
                    <a:pt x="81657" y="181510"/>
                  </a:lnTo>
                  <a:cubicBezTo>
                    <a:pt x="81657" y="187100"/>
                    <a:pt x="77107" y="191631"/>
                    <a:pt x="71496" y="191631"/>
                  </a:cubicBezTo>
                  <a:cubicBezTo>
                    <a:pt x="65885" y="191631"/>
                    <a:pt x="61335" y="187100"/>
                    <a:pt x="61335" y="181510"/>
                  </a:cubicBezTo>
                  <a:lnTo>
                    <a:pt x="61335" y="111033"/>
                  </a:lnTo>
                  <a:cubicBezTo>
                    <a:pt x="61335" y="108602"/>
                    <a:pt x="59354" y="106633"/>
                    <a:pt x="56917" y="106632"/>
                  </a:cubicBezTo>
                  <a:cubicBezTo>
                    <a:pt x="56895" y="106632"/>
                    <a:pt x="56866" y="106632"/>
                    <a:pt x="56843" y="106633"/>
                  </a:cubicBezTo>
                  <a:cubicBezTo>
                    <a:pt x="54392" y="106633"/>
                    <a:pt x="52389" y="108591"/>
                    <a:pt x="52352" y="111033"/>
                  </a:cubicBezTo>
                  <a:lnTo>
                    <a:pt x="52352" y="181510"/>
                  </a:lnTo>
                  <a:cubicBezTo>
                    <a:pt x="52831" y="187079"/>
                    <a:pt x="48685" y="191979"/>
                    <a:pt x="43089" y="192455"/>
                  </a:cubicBezTo>
                  <a:cubicBezTo>
                    <a:pt x="37501" y="192930"/>
                    <a:pt x="32582" y="188801"/>
                    <a:pt x="32103" y="183231"/>
                  </a:cubicBezTo>
                  <a:cubicBezTo>
                    <a:pt x="32052" y="182659"/>
                    <a:pt x="32052" y="182083"/>
                    <a:pt x="32103" y="181510"/>
                  </a:cubicBezTo>
                  <a:lnTo>
                    <a:pt x="32103" y="46203"/>
                  </a:lnTo>
                  <a:cubicBezTo>
                    <a:pt x="32067" y="43760"/>
                    <a:pt x="30064" y="41802"/>
                    <a:pt x="27612" y="41802"/>
                  </a:cubicBezTo>
                  <a:cubicBezTo>
                    <a:pt x="25175" y="41762"/>
                    <a:pt x="23165" y="43699"/>
                    <a:pt x="23120" y="46129"/>
                  </a:cubicBezTo>
                  <a:cubicBezTo>
                    <a:pt x="23120" y="46153"/>
                    <a:pt x="23120" y="46178"/>
                    <a:pt x="23120" y="46203"/>
                  </a:cubicBezTo>
                  <a:lnTo>
                    <a:pt x="23120" y="88152"/>
                  </a:lnTo>
                  <a:cubicBezTo>
                    <a:pt x="23150" y="91857"/>
                    <a:pt x="20403" y="95004"/>
                    <a:pt x="16714" y="95485"/>
                  </a:cubicBezTo>
                  <a:cubicBezTo>
                    <a:pt x="14690" y="95723"/>
                    <a:pt x="12665" y="95050"/>
                    <a:pt x="11192" y="93652"/>
                  </a:cubicBezTo>
                  <a:cubicBezTo>
                    <a:pt x="9712" y="92287"/>
                    <a:pt x="8865" y="90379"/>
                    <a:pt x="8836" y="88372"/>
                  </a:cubicBezTo>
                  <a:lnTo>
                    <a:pt x="8836" y="27575"/>
                  </a:lnTo>
                  <a:cubicBezTo>
                    <a:pt x="8836" y="17247"/>
                    <a:pt x="17245" y="8874"/>
                    <a:pt x="27612" y="8874"/>
                  </a:cubicBezTo>
                  <a:lnTo>
                    <a:pt x="86075" y="8874"/>
                  </a:lnTo>
                  <a:cubicBezTo>
                    <a:pt x="96442" y="8874"/>
                    <a:pt x="104851" y="17247"/>
                    <a:pt x="104851" y="27575"/>
                  </a:cubicBezTo>
                  <a:close/>
                </a:path>
              </a:pathLst>
            </a:custGeom>
            <a:grpFill/>
            <a:ln w="7361" cap="flat">
              <a:solidFill>
                <a:schemeClr val="bg1"/>
              </a:solidFill>
              <a:prstDash val="solid"/>
              <a:miter/>
            </a:ln>
          </p:spPr>
          <p:txBody>
            <a:bodyPr rtlCol="0" anchor="ctr"/>
            <a:lstStyle/>
            <a:p>
              <a:endParaRPr lang="en-US"/>
            </a:p>
          </p:txBody>
        </p:sp>
        <p:sp>
          <p:nvSpPr>
            <p:cNvPr id="59" name="Freeform 351">
              <a:extLst>
                <a:ext uri="{FF2B5EF4-FFF2-40B4-BE49-F238E27FC236}">
                  <a16:creationId xmlns:a16="http://schemas.microsoft.com/office/drawing/2014/main" id="{695BAF62-BE55-154C-8866-C027A1239774}"/>
                </a:ext>
              </a:extLst>
            </p:cNvPr>
            <p:cNvSpPr/>
            <p:nvPr/>
          </p:nvSpPr>
          <p:spPr>
            <a:xfrm>
              <a:off x="1642709" y="2659232"/>
              <a:ext cx="48302" cy="48109"/>
            </a:xfrm>
            <a:custGeom>
              <a:avLst/>
              <a:gdLst>
                <a:gd name="connsiteX0" fmla="*/ 24151 w 48302"/>
                <a:gd name="connsiteY0" fmla="*/ 48109 h 48109"/>
                <a:gd name="connsiteX1" fmla="*/ 48302 w 48302"/>
                <a:gd name="connsiteY1" fmla="*/ 24055 h 48109"/>
                <a:gd name="connsiteX2" fmla="*/ 24151 w 48302"/>
                <a:gd name="connsiteY2" fmla="*/ 0 h 48109"/>
                <a:gd name="connsiteX3" fmla="*/ 0 w 48302"/>
                <a:gd name="connsiteY3" fmla="*/ 24055 h 48109"/>
                <a:gd name="connsiteX4" fmla="*/ 0 w 48302"/>
                <a:gd name="connsiteY4" fmla="*/ 24128 h 48109"/>
                <a:gd name="connsiteX5" fmla="*/ 24077 w 48302"/>
                <a:gd name="connsiteY5" fmla="*/ 48109 h 48109"/>
                <a:gd name="connsiteX6" fmla="*/ 24151 w 48302"/>
                <a:gd name="connsiteY6" fmla="*/ 48109 h 48109"/>
                <a:gd name="connsiteX7" fmla="*/ 24151 w 48302"/>
                <a:gd name="connsiteY7" fmla="*/ 9021 h 48109"/>
                <a:gd name="connsiteX8" fmla="*/ 39319 w 48302"/>
                <a:gd name="connsiteY8" fmla="*/ 24128 h 48109"/>
                <a:gd name="connsiteX9" fmla="*/ 24151 w 48302"/>
                <a:gd name="connsiteY9" fmla="*/ 39236 h 48109"/>
                <a:gd name="connsiteX10" fmla="*/ 8983 w 48302"/>
                <a:gd name="connsiteY10" fmla="*/ 24128 h 48109"/>
                <a:gd name="connsiteX11" fmla="*/ 24151 w 48302"/>
                <a:gd name="connsiteY11" fmla="*/ 9021 h 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2" h="48109">
                  <a:moveTo>
                    <a:pt x="24151" y="48109"/>
                  </a:moveTo>
                  <a:cubicBezTo>
                    <a:pt x="37486" y="48109"/>
                    <a:pt x="48302" y="37340"/>
                    <a:pt x="48302" y="24055"/>
                  </a:cubicBezTo>
                  <a:cubicBezTo>
                    <a:pt x="48302" y="10770"/>
                    <a:pt x="37486" y="0"/>
                    <a:pt x="24151" y="0"/>
                  </a:cubicBezTo>
                  <a:cubicBezTo>
                    <a:pt x="10809" y="0"/>
                    <a:pt x="0" y="10770"/>
                    <a:pt x="0" y="24055"/>
                  </a:cubicBezTo>
                  <a:cubicBezTo>
                    <a:pt x="0" y="24079"/>
                    <a:pt x="0" y="24104"/>
                    <a:pt x="0" y="24128"/>
                  </a:cubicBezTo>
                  <a:cubicBezTo>
                    <a:pt x="0" y="37373"/>
                    <a:pt x="10780" y="48109"/>
                    <a:pt x="24077" y="48109"/>
                  </a:cubicBezTo>
                  <a:cubicBezTo>
                    <a:pt x="24100" y="48109"/>
                    <a:pt x="24129" y="48109"/>
                    <a:pt x="24151" y="48109"/>
                  </a:cubicBezTo>
                  <a:close/>
                  <a:moveTo>
                    <a:pt x="24151" y="9021"/>
                  </a:moveTo>
                  <a:cubicBezTo>
                    <a:pt x="32530" y="9021"/>
                    <a:pt x="39319" y="15784"/>
                    <a:pt x="39319" y="24128"/>
                  </a:cubicBezTo>
                  <a:cubicBezTo>
                    <a:pt x="39319" y="32472"/>
                    <a:pt x="32530" y="39236"/>
                    <a:pt x="24151" y="39236"/>
                  </a:cubicBezTo>
                  <a:cubicBezTo>
                    <a:pt x="15772" y="39236"/>
                    <a:pt x="8983" y="32472"/>
                    <a:pt x="8983" y="24128"/>
                  </a:cubicBezTo>
                  <a:cubicBezTo>
                    <a:pt x="8983" y="15784"/>
                    <a:pt x="15772" y="9021"/>
                    <a:pt x="24151" y="9021"/>
                  </a:cubicBezTo>
                  <a:close/>
                </a:path>
              </a:pathLst>
            </a:custGeom>
            <a:grpFill/>
            <a:ln w="7361" cap="flat">
              <a:solidFill>
                <a:schemeClr val="bg1"/>
              </a:solidFill>
              <a:prstDash val="solid"/>
              <a:miter/>
            </a:ln>
          </p:spPr>
          <p:txBody>
            <a:bodyPr rtlCol="0" anchor="ctr"/>
            <a:lstStyle/>
            <a:p>
              <a:endParaRPr lang="en-US"/>
            </a:p>
          </p:txBody>
        </p:sp>
      </p:grpSp>
      <p:sp>
        <p:nvSpPr>
          <p:cNvPr id="60" name="ZoneTexte 59"/>
          <p:cNvSpPr txBox="1"/>
          <p:nvPr/>
        </p:nvSpPr>
        <p:spPr>
          <a:xfrm>
            <a:off x="911225" y="1607784"/>
            <a:ext cx="10800000" cy="1066959"/>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e contacte les Etablissements Recevant du Public installés sur mon territoire pour les informer des obligations d’installation de DAE, de maintenance et signalétique ;</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informe les exploitants de DAE installés de leur obligation de déclaration des DAE dans le portail </a:t>
            </a:r>
            <a:r>
              <a:rPr lang="fr-FR" sz="1500" dirty="0" err="1">
                <a:latin typeface="Arial" pitchFamily="34" charset="0"/>
              </a:rPr>
              <a:t>Géo’DAE</a:t>
            </a:r>
            <a:r>
              <a:rPr lang="fr-FR" sz="1500" dirty="0">
                <a:latin typeface="Arial" pitchFamily="34" charset="0"/>
              </a:rPr>
              <a:t> ;</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e diffuse </a:t>
            </a:r>
            <a:r>
              <a:rPr lang="fr-FR" sz="1500" b="1" dirty="0">
                <a:latin typeface="Arial" pitchFamily="34" charset="0"/>
              </a:rPr>
              <a:t>les brochures de communication aux exploitants</a:t>
            </a:r>
          </a:p>
        </p:txBody>
      </p:sp>
      <p:sp>
        <p:nvSpPr>
          <p:cNvPr id="61" name="ZoneTexte 60"/>
          <p:cNvSpPr txBox="1"/>
          <p:nvPr/>
        </p:nvSpPr>
        <p:spPr>
          <a:xfrm>
            <a:off x="928271" y="3684070"/>
            <a:ext cx="10800000" cy="1066959"/>
          </a:xfrm>
          <a:prstGeom prst="rect">
            <a:avLst/>
          </a:prstGeom>
          <a:noFill/>
        </p:spPr>
        <p:txBody>
          <a:bodyPr wrap="square" rtlCol="0">
            <a:spAutoFit/>
          </a:bodyPr>
          <a:lstStyle/>
          <a:p>
            <a:pPr algn="just">
              <a:spcBef>
                <a:spcPts val="100"/>
              </a:spcBef>
              <a:spcAft>
                <a:spcPts val="100"/>
              </a:spcAft>
              <a:buClr>
                <a:srgbClr val="5F5F5F"/>
              </a:buClr>
              <a:buSzPct val="100000"/>
              <a:tabLst>
                <a:tab pos="8429625" algn="l"/>
              </a:tabLst>
              <a:defRPr/>
            </a:pPr>
            <a:r>
              <a:rPr lang="fr-FR" sz="1500" dirty="0">
                <a:latin typeface="Arial" pitchFamily="34" charset="0"/>
              </a:rPr>
              <a:t>Dans le cadre des évènements : </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e m’engage </a:t>
            </a:r>
            <a:r>
              <a:rPr lang="fr-FR" sz="1500" b="1" dirty="0">
                <a:latin typeface="Arial" pitchFamily="34" charset="0"/>
              </a:rPr>
              <a:t>à relayer les messages du Ministère de la santé et de la prévention </a:t>
            </a:r>
            <a:r>
              <a:rPr lang="fr-FR" sz="1500" dirty="0">
                <a:latin typeface="Arial" pitchFamily="34" charset="0"/>
              </a:rPr>
              <a:t>portant sur la promotion de l’usage du DAE ou sur l’importance de recenser ces derniers ;</a:t>
            </a:r>
          </a:p>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Je m’engage à diffuser </a:t>
            </a:r>
            <a:r>
              <a:rPr lang="fr-FR" sz="1500" b="1" dirty="0">
                <a:latin typeface="Arial" pitchFamily="34" charset="0"/>
              </a:rPr>
              <a:t>les brochures de communication grand public</a:t>
            </a:r>
            <a:r>
              <a:rPr lang="fr-FR" sz="1500" dirty="0">
                <a:latin typeface="Arial" pitchFamily="34" charset="0"/>
              </a:rPr>
              <a:t>.</a:t>
            </a:r>
          </a:p>
        </p:txBody>
      </p:sp>
      <p:sp>
        <p:nvSpPr>
          <p:cNvPr id="62" name="ZoneTexte 61"/>
          <p:cNvSpPr txBox="1"/>
          <p:nvPr/>
        </p:nvSpPr>
        <p:spPr>
          <a:xfrm>
            <a:off x="932850" y="5734050"/>
            <a:ext cx="10800000" cy="553998"/>
          </a:xfrm>
          <a:prstGeom prst="rect">
            <a:avLst/>
          </a:prstGeom>
          <a:noFill/>
        </p:spPr>
        <p:txBody>
          <a:bodyPr wrap="square" rtlCol="0">
            <a:spAutoFit/>
          </a:bodyPr>
          <a:lstStyle/>
          <a:p>
            <a:pPr marL="180000" indent="-180000" algn="just">
              <a:spcBef>
                <a:spcPts val="100"/>
              </a:spcBef>
              <a:spcAft>
                <a:spcPts val="100"/>
              </a:spcAft>
              <a:buSzPct val="100000"/>
              <a:buFont typeface="Arial" panose="020B0604020202020204" pitchFamily="34" charset="0"/>
              <a:buChar char="•"/>
              <a:tabLst>
                <a:tab pos="8429625" algn="l"/>
              </a:tabLst>
              <a:defRPr/>
            </a:pPr>
            <a:r>
              <a:rPr lang="fr-FR" sz="1500" dirty="0">
                <a:latin typeface="Arial" pitchFamily="34" charset="0"/>
              </a:rPr>
              <a:t>Dans le cadre de réalisation de documents de sensibilisation à l’usage de DAE et sur la promotion des </a:t>
            </a:r>
            <a:r>
              <a:rPr lang="fr-FR" sz="1500" b="1" dirty="0">
                <a:latin typeface="Arial" pitchFamily="34" charset="0"/>
              </a:rPr>
              <a:t>Gestes </a:t>
            </a:r>
            <a:r>
              <a:rPr lang="fr-FR" sz="1500" b="1" dirty="0" smtClean="0">
                <a:latin typeface="Arial" pitchFamily="34" charset="0"/>
              </a:rPr>
              <a:t>de premiers secours</a:t>
            </a:r>
            <a:r>
              <a:rPr lang="fr-FR" sz="1500" dirty="0" smtClean="0">
                <a:latin typeface="Arial" pitchFamily="34" charset="0"/>
              </a:rPr>
              <a:t>, </a:t>
            </a:r>
            <a:r>
              <a:rPr lang="fr-FR" sz="1500" dirty="0">
                <a:latin typeface="Arial" pitchFamily="34" charset="0"/>
              </a:rPr>
              <a:t>je m’engage à utiliser la marque d’Etat </a:t>
            </a:r>
            <a:r>
              <a:rPr lang="fr-FR" sz="1500" dirty="0" err="1">
                <a:latin typeface="Arial" pitchFamily="34" charset="0"/>
              </a:rPr>
              <a:t>Géo’DAE</a:t>
            </a:r>
            <a:r>
              <a:rPr lang="fr-FR" sz="1500" dirty="0">
                <a:latin typeface="Arial" pitchFamily="34" charset="0"/>
              </a:rPr>
              <a:t> tout en respectant la charte graphique. </a:t>
            </a:r>
          </a:p>
        </p:txBody>
      </p:sp>
    </p:spTree>
    <p:extLst>
      <p:ext uri="{BB962C8B-B14F-4D97-AF65-F5344CB8AC3E}">
        <p14:creationId xmlns:p14="http://schemas.microsoft.com/office/powerpoint/2010/main" val="15577390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7"/>
          <p:cNvSpPr txBox="1">
            <a:spLocks/>
          </p:cNvSpPr>
          <p:nvPr/>
        </p:nvSpPr>
        <p:spPr>
          <a:xfrm>
            <a:off x="4544703" y="1135561"/>
            <a:ext cx="7483522" cy="396000"/>
          </a:xfrm>
          <a:prstGeom prst="rect">
            <a:avLst/>
          </a:prstGeom>
          <a:solidFill>
            <a:srgbClr val="1F497D"/>
          </a:solidFill>
        </p:spPr>
        <p:txBody>
          <a:bodyPr/>
          <a:lstStyle>
            <a:lvl1pPr marL="380990" indent="-380990" algn="l" defTabSz="1219170" rtl="0" eaLnBrk="1" latinLnBrk="0" hangingPunct="1">
              <a:spcBef>
                <a:spcPct val="20000"/>
              </a:spcBef>
              <a:spcAft>
                <a:spcPts val="1600"/>
              </a:spcAft>
              <a:buFont typeface="Arial" panose="020B0604020202020204" pitchFamily="34" charset="0"/>
              <a:buChar char="•"/>
              <a:defRPr lang="fr-FR" sz="2300" b="1" i="0" u="none" strike="noStrike" kern="1200" baseline="0" dirty="0" smtClean="0">
                <a:solidFill>
                  <a:srgbClr val="3C4693"/>
                </a:solidFill>
                <a:latin typeface="+mn-lt"/>
                <a:ea typeface="+mn-ea"/>
                <a:cs typeface="+mn-cs"/>
              </a:defRPr>
            </a:lvl1pPr>
            <a:lvl2pPr marL="0" indent="0" algn="l" defTabSz="1219170" rtl="0" eaLnBrk="1" latinLnBrk="0" hangingPunct="1">
              <a:spcBef>
                <a:spcPts val="800"/>
              </a:spcBef>
              <a:spcAft>
                <a:spcPts val="800"/>
              </a:spcAft>
              <a:buFont typeface="Arial" panose="020B0604020202020204" pitchFamily="34" charset="0"/>
              <a:buNone/>
              <a:defRPr lang="fr-FR" sz="2000" b="1" kern="1200" dirty="0" smtClean="0">
                <a:solidFill>
                  <a:srgbClr val="C8D223"/>
                </a:solidFill>
                <a:latin typeface="+mj-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285943" indent="-457189"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261938" algn="ctr">
              <a:buNone/>
            </a:pPr>
            <a:r>
              <a:rPr lang="fr-FR" sz="1600" dirty="0" smtClean="0">
                <a:solidFill>
                  <a:schemeClr val="bg1"/>
                </a:solidFill>
                <a:latin typeface="Arial" panose="020B0604020202020204" pitchFamily="34" charset="0"/>
                <a:cs typeface="Arial" panose="020B0604020202020204" pitchFamily="34" charset="0"/>
              </a:rPr>
              <a:t>Charte d’usage marque « Géo’DAE – Base nationale des défibrillateurs »</a:t>
            </a:r>
          </a:p>
        </p:txBody>
      </p:sp>
      <p:sp>
        <p:nvSpPr>
          <p:cNvPr id="4" name="Rectangle 3"/>
          <p:cNvSpPr/>
          <p:nvPr/>
        </p:nvSpPr>
        <p:spPr>
          <a:xfrm>
            <a:off x="4544685" y="1531561"/>
            <a:ext cx="7481953" cy="2272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Titre 5"/>
          <p:cNvSpPr txBox="1">
            <a:spLocks/>
          </p:cNvSpPr>
          <p:nvPr/>
        </p:nvSpPr>
        <p:spPr>
          <a:xfrm>
            <a:off x="496002" y="1768573"/>
            <a:ext cx="3666675" cy="1931042"/>
          </a:xfrm>
          <a:prstGeom prst="rect">
            <a:avLst/>
          </a:prstGeom>
        </p:spPr>
        <p:txBody>
          <a:bodyPr/>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a:r>
              <a:rPr lang="fr-FR" sz="2600" b="1" dirty="0" smtClean="0">
                <a:latin typeface="Arial" panose="020B0604020202020204" pitchFamily="34" charset="0"/>
                <a:cs typeface="Arial" panose="020B0604020202020204" pitchFamily="34" charset="0"/>
              </a:rPr>
              <a:t>Pour toute question</a:t>
            </a:r>
          </a:p>
          <a:p>
            <a:pPr algn="ctr"/>
            <a:endParaRPr lang="fr-FR" sz="3600" b="1" dirty="0" smtClean="0">
              <a:latin typeface="Arial" panose="020B0604020202020204" pitchFamily="34" charset="0"/>
              <a:cs typeface="Arial" panose="020B0604020202020204" pitchFamily="34" charset="0"/>
            </a:endParaRPr>
          </a:p>
          <a:p>
            <a:pPr algn="ctr"/>
            <a:r>
              <a:rPr lang="fr-FR" sz="1800" b="1" dirty="0" smtClean="0">
                <a:solidFill>
                  <a:srgbClr val="002060"/>
                </a:solidFill>
                <a:latin typeface="Arial" panose="020B0604020202020204" pitchFamily="34" charset="0"/>
                <a:cs typeface="Arial" panose="020B0604020202020204" pitchFamily="34" charset="0"/>
              </a:rPr>
              <a:t>contact@geodae.sante.gouv.fr</a:t>
            </a:r>
            <a:endParaRPr lang="fr-FR" sz="1800" b="1" dirty="0">
              <a:solidFill>
                <a:srgbClr val="002060"/>
              </a:solidFill>
              <a:latin typeface="Arial" panose="020B0604020202020204" pitchFamily="34" charset="0"/>
              <a:cs typeface="Arial" panose="020B0604020202020204" pitchFamily="34" charset="0"/>
            </a:endParaRPr>
          </a:p>
        </p:txBody>
      </p:sp>
      <p:sp>
        <p:nvSpPr>
          <p:cNvPr id="8" name="Titre 5"/>
          <p:cNvSpPr txBox="1">
            <a:spLocks/>
          </p:cNvSpPr>
          <p:nvPr/>
        </p:nvSpPr>
        <p:spPr>
          <a:xfrm>
            <a:off x="309585" y="5248790"/>
            <a:ext cx="4041775" cy="424790"/>
          </a:xfrm>
          <a:prstGeom prst="rect">
            <a:avLst/>
          </a:prstGeom>
        </p:spPr>
        <p:txBody>
          <a:bodyPr lIns="36000" rIns="36000"/>
          <a:lstStyle>
            <a:lvl1pPr algn="l" defTabSz="1219170" rtl="0" eaLnBrk="1" latinLnBrk="0" hangingPunct="1">
              <a:lnSpc>
                <a:spcPct val="90000"/>
              </a:lnSpc>
              <a:spcBef>
                <a:spcPct val="0"/>
              </a:spcBef>
              <a:buNone/>
              <a:defRPr sz="5900" kern="1200">
                <a:solidFill>
                  <a:schemeClr val="tx1"/>
                </a:solidFill>
                <a:latin typeface="+mj-lt"/>
                <a:ea typeface="+mj-ea"/>
                <a:cs typeface="+mj-cs"/>
              </a:defRPr>
            </a:lvl1pPr>
          </a:lstStyle>
          <a:p>
            <a:pPr algn="ctr"/>
            <a:r>
              <a:rPr lang="fr-FR" sz="2400" b="1" dirty="0" smtClean="0">
                <a:latin typeface="Arial" panose="020B0604020202020204" pitchFamily="34" charset="0"/>
                <a:cs typeface="Arial" panose="020B0604020202020204" pitchFamily="34" charset="0"/>
              </a:rPr>
              <a:t>Déclarer, Localiser, Sauver</a:t>
            </a:r>
            <a:endParaRPr lang="fr-FR" sz="2400" b="1" dirty="0">
              <a:latin typeface="Arial" panose="020B0604020202020204" pitchFamily="34" charset="0"/>
              <a:cs typeface="Arial" panose="020B0604020202020204" pitchFamily="34" charset="0"/>
            </a:endParaRPr>
          </a:p>
        </p:txBody>
      </p:sp>
      <p:sp>
        <p:nvSpPr>
          <p:cNvPr id="9" name="Freeform 9"/>
          <p:cNvSpPr>
            <a:spLocks noChangeAspect="1"/>
          </p:cNvSpPr>
          <p:nvPr/>
        </p:nvSpPr>
        <p:spPr bwMode="gray">
          <a:xfrm>
            <a:off x="373736" y="5612588"/>
            <a:ext cx="3911208" cy="121984"/>
          </a:xfrm>
          <a:custGeom>
            <a:avLst/>
            <a:gdLst>
              <a:gd name="T0" fmla="*/ 20 w 1807"/>
              <a:gd name="T1" fmla="*/ 115 h 116"/>
              <a:gd name="T2" fmla="*/ 20 w 1807"/>
              <a:gd name="T3" fmla="*/ 115 h 116"/>
              <a:gd name="T4" fmla="*/ 1398 w 1807"/>
              <a:gd name="T5" fmla="*/ 50 h 116"/>
              <a:gd name="T6" fmla="*/ 1786 w 1807"/>
              <a:gd name="T7" fmla="*/ 32 h 116"/>
              <a:gd name="T8" fmla="*/ 1786 w 1807"/>
              <a:gd name="T9" fmla="*/ 1 h 116"/>
              <a:gd name="T10" fmla="*/ 409 w 1807"/>
              <a:gd name="T11" fmla="*/ 65 h 116"/>
              <a:gd name="T12" fmla="*/ 21 w 1807"/>
              <a:gd name="T13" fmla="*/ 83 h 116"/>
              <a:gd name="T14" fmla="*/ 20 w 1807"/>
              <a:gd name="T15" fmla="*/ 115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7" h="116">
                <a:moveTo>
                  <a:pt x="20" y="115"/>
                </a:moveTo>
                <a:lnTo>
                  <a:pt x="20" y="115"/>
                </a:lnTo>
                <a:cubicBezTo>
                  <a:pt x="479" y="93"/>
                  <a:pt x="938" y="72"/>
                  <a:pt x="1398" y="50"/>
                </a:cubicBezTo>
                <a:cubicBezTo>
                  <a:pt x="1527" y="44"/>
                  <a:pt x="1656" y="38"/>
                  <a:pt x="1786" y="32"/>
                </a:cubicBezTo>
                <a:cubicBezTo>
                  <a:pt x="1806" y="31"/>
                  <a:pt x="1807" y="0"/>
                  <a:pt x="1786" y="1"/>
                </a:cubicBezTo>
                <a:cubicBezTo>
                  <a:pt x="1327" y="22"/>
                  <a:pt x="868" y="44"/>
                  <a:pt x="409" y="65"/>
                </a:cubicBezTo>
                <a:cubicBezTo>
                  <a:pt x="279" y="71"/>
                  <a:pt x="150" y="77"/>
                  <a:pt x="21" y="83"/>
                </a:cubicBezTo>
                <a:cubicBezTo>
                  <a:pt x="0" y="84"/>
                  <a:pt x="0" y="116"/>
                  <a:pt x="20" y="115"/>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pic>
        <p:nvPicPr>
          <p:cNvPr id="12" name="Imag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43098" y="1758853"/>
            <a:ext cx="7483539" cy="4410913"/>
          </a:xfrm>
          <a:prstGeom prst="rect">
            <a:avLst/>
          </a:prstGeom>
        </p:spPr>
      </p:pic>
      <p:pic>
        <p:nvPicPr>
          <p:cNvPr id="14" name="Image 13"/>
          <p:cNvPicPr>
            <a:picLocks noChangeAspect="1"/>
          </p:cNvPicPr>
          <p:nvPr/>
        </p:nvPicPr>
        <p:blipFill>
          <a:blip r:embed="rId3"/>
          <a:stretch>
            <a:fillRect/>
          </a:stretch>
        </p:blipFill>
        <p:spPr>
          <a:xfrm>
            <a:off x="658915" y="3699615"/>
            <a:ext cx="2931414" cy="1222978"/>
          </a:xfrm>
          <a:prstGeom prst="rect">
            <a:avLst/>
          </a:prstGeom>
        </p:spPr>
      </p:pic>
      <p:sp>
        <p:nvSpPr>
          <p:cNvPr id="15" name="Espace réservé du numéro de diapositive 1"/>
          <p:cNvSpPr>
            <a:spLocks noGrp="1"/>
          </p:cNvSpPr>
          <p:nvPr>
            <p:ph type="sldNum" sz="quarter" idx="12"/>
          </p:nvPr>
        </p:nvSpPr>
        <p:spPr>
          <a:xfrm>
            <a:off x="9863667" y="6509982"/>
            <a:ext cx="1799766" cy="360000"/>
          </a:xfrm>
        </p:spPr>
        <p:txBody>
          <a:bodyPr anchor="ctr"/>
          <a:lstStyle/>
          <a:p>
            <a:pPr algn="r" defTabSz="1219048">
              <a:buClrTx/>
              <a:buSzTx/>
              <a:defRPr/>
            </a:pPr>
            <a:fld id="{733122C9-A0B9-462F-8757-0847AD287B63}" type="slidenum">
              <a:rPr lang="fr-FR" sz="1050">
                <a:solidFill>
                  <a:srgbClr val="FFFFFF"/>
                </a:solidFill>
                <a:latin typeface="Arial"/>
                <a:ea typeface="+mn-ea"/>
                <a:cs typeface="+mn-cs"/>
              </a:rPr>
              <a:pPr algn="r" defTabSz="1219048">
                <a:buClrTx/>
                <a:buSzTx/>
                <a:defRPr/>
              </a:pPr>
              <a:t>5</a:t>
            </a:fld>
            <a:endParaRPr lang="fr-FR" sz="1050" dirty="0">
              <a:solidFill>
                <a:srgbClr val="FFFFFF"/>
              </a:solidFill>
              <a:latin typeface="Arial"/>
              <a:ea typeface="+mn-ea"/>
              <a:cs typeface="+mn-cs"/>
            </a:endParaRPr>
          </a:p>
        </p:txBody>
      </p:sp>
    </p:spTree>
    <p:extLst>
      <p:ext uri="{BB962C8B-B14F-4D97-AF65-F5344CB8AC3E}">
        <p14:creationId xmlns:p14="http://schemas.microsoft.com/office/powerpoint/2010/main" val="27006806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bgNhAc3ck.ONkytiBi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BqfHVet9UKKoFW1NL9C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bgNhAc3ck.ONkytiBi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BqfHVet9UKKoFW1NL9C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bgNhAc3ck.ONkytiBi_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BqfHVet9UKKoFW1NL9CdA"/>
</p:tagLst>
</file>

<file path=ppt/theme/theme1.xml><?xml version="1.0" encoding="utf-8"?>
<a:theme xmlns:a="http://schemas.openxmlformats.org/drawingml/2006/main" name="DGS_Titre Principal Pré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3.xml><?xml version="1.0" encoding="utf-8"?>
<a:theme xmlns:a="http://schemas.openxmlformats.org/drawingml/2006/main" name="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4.xml><?xml version="1.0" encoding="utf-8"?>
<a:theme xmlns:a="http://schemas.openxmlformats.org/drawingml/2006/main" name="3_DGS_PagesIntérieures_AvecTitres_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954CAE375B0284E8EE9BBF3E7A46484" ma:contentTypeVersion="6" ma:contentTypeDescription="Crée un document." ma:contentTypeScope="" ma:versionID="511452b9809657e6815bf4cce2accdc2">
  <xsd:schema xmlns:xsd="http://www.w3.org/2001/XMLSchema" xmlns:xs="http://www.w3.org/2001/XMLSchema" xmlns:p="http://schemas.microsoft.com/office/2006/metadata/properties" targetNamespace="http://schemas.microsoft.com/office/2006/metadata/properties" ma:root="true" ma:fieldsID="ed8f41ed40e1d7dd031eefd1d81ec7d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ma:readOnly="true"/>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8F84BA6-1E2C-4108-A978-70A67FB76E39}">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A4DF406A-BCCC-4CE6-BAB0-A8B291EC75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67E3377A-D9D7-43A3-A75F-3A9E28DF16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208</TotalTime>
  <Words>608</Words>
  <Application>Microsoft Office PowerPoint</Application>
  <PresentationFormat>Personnalisé</PresentationFormat>
  <Paragraphs>43</Paragraphs>
  <Slides>5</Slides>
  <Notes>0</Notes>
  <HiddenSlides>0</HiddenSlides>
  <MMClips>0</MMClips>
  <ScaleCrop>false</ScaleCrop>
  <HeadingPairs>
    <vt:vector size="6" baseType="variant">
      <vt:variant>
        <vt:lpstr>Polices utilisées</vt:lpstr>
      </vt:variant>
      <vt:variant>
        <vt:i4>7</vt:i4>
      </vt:variant>
      <vt:variant>
        <vt:lpstr>Thème</vt:lpstr>
      </vt:variant>
      <vt:variant>
        <vt:i4>5</vt:i4>
      </vt:variant>
      <vt:variant>
        <vt:lpstr>Titres des diapositives</vt:lpstr>
      </vt:variant>
      <vt:variant>
        <vt:i4>5</vt:i4>
      </vt:variant>
    </vt:vector>
  </HeadingPairs>
  <TitlesOfParts>
    <vt:vector size="17" baseType="lpstr">
      <vt:lpstr>Arial</vt:lpstr>
      <vt:lpstr>Arial Narrow</vt:lpstr>
      <vt:lpstr>Calibri</vt:lpstr>
      <vt:lpstr>Cambria</vt:lpstr>
      <vt:lpstr>Candara</vt:lpstr>
      <vt:lpstr>Helvetica Neue</vt:lpstr>
      <vt:lpstr>Wingdings</vt:lpstr>
      <vt:lpstr>DGS_Titre Principal Présentation</vt:lpstr>
      <vt:lpstr>2_TEMPLATE_INTITULE_OFFICIEL</vt:lpstr>
      <vt:lpstr>TEMPLATE_INTITULE_OFFICIEL</vt:lpstr>
      <vt:lpstr>3_DGS_PagesIntérieures_AvecTitres_1</vt:lpstr>
      <vt:lpstr>1_TEMPLATE_INTITULE_OFFICIEL</vt:lpstr>
      <vt:lpstr>Présentation PowerPoint</vt:lpstr>
      <vt:lpstr>Présentation PowerPoint</vt:lpstr>
      <vt:lpstr>Présentation PowerPoint</vt:lpstr>
      <vt:lpstr>Présentation PowerPoint</vt:lpstr>
      <vt:lpstr>Présentation PowerPoint</vt:lpstr>
    </vt:vector>
  </TitlesOfParts>
  <Company>PPT/D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OMA, Julie (DGS/MICOM)</dc:creator>
  <cp:lastModifiedBy>SAKHO, Moussa (DGS/SG/DAD)</cp:lastModifiedBy>
  <cp:revision>2098</cp:revision>
  <cp:lastPrinted>2018-10-12T12:22:23Z</cp:lastPrinted>
  <dcterms:created xsi:type="dcterms:W3CDTF">2018-09-17T13:21:29Z</dcterms:created>
  <dcterms:modified xsi:type="dcterms:W3CDTF">2022-12-16T16:0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54CAE375B0284E8EE9BBF3E7A46484</vt:lpwstr>
  </property>
</Properties>
</file>